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57" r:id="rId2"/>
  </p:sldMasterIdLst>
  <p:notesMasterIdLst>
    <p:notesMasterId r:id="rId10"/>
  </p:notesMasterIdLst>
  <p:sldIdLst>
    <p:sldId id="2134804875" r:id="rId3"/>
    <p:sldId id="260" r:id="rId4"/>
    <p:sldId id="2134804879" r:id="rId5"/>
    <p:sldId id="2134804882" r:id="rId6"/>
    <p:sldId id="2134804880" r:id="rId7"/>
    <p:sldId id="2134804883" r:id="rId8"/>
    <p:sldId id="288" r:id="rId9"/>
  </p:sldIdLst>
  <p:sldSz cx="12192000" cy="6858000"/>
  <p:notesSz cx="6858000" cy="9144000"/>
  <p:custDataLst>
    <p:tags r:id="rId1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4" roundtripDataSignature="AMtx7mjOklPT/7W45V30xdheE960JWCNh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598383A-290C-4E0C-AFAA-82A8EAB2D373}">
  <a:tblStyle styleId="{2598383A-290C-4E0C-AFAA-82A8EAB2D373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610AA1AF-1AD9-49FC-9FE0-CA2E03268284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375E21EE-CC41-42DF-B1B7-F4AB1FA60E2E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6E8E6"/>
          </a:solidFill>
        </a:fill>
      </a:tcStyle>
    </a:wholeTbl>
    <a:band1H>
      <a:tcTxStyle b="off" i="off"/>
      <a:tcStyle>
        <a:tcBdr/>
        <a:fill>
          <a:solidFill>
            <a:srgbClr val="EECECA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EECECA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94851667-1EC7-4D1C-BBDB-B0C426510134}" styleName="Table_3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92" autoAdjust="0"/>
  </p:normalViewPr>
  <p:slideViewPr>
    <p:cSldViewPr snapToGrid="0">
      <p:cViewPr>
        <p:scale>
          <a:sx n="60" d="100"/>
          <a:sy n="60" d="100"/>
        </p:scale>
        <p:origin x="81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4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6143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22aaf9e968d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g22aaf9e968d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22aaf9e968d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g22aaf9e968d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01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22aaf9e968d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g22aaf9e968d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34436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22aaf9e968d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g22aaf9e968d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17284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22aaf9e968d_4_2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0" name="Google Shape;180;g22aaf9e968d_4_29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3971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" name="Google Shape;843;g22aaf9e968d_9_20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44" name="Google Shape;844;g22aaf9e968d_9_2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ines 3 Grey">
  <p:cSld name="Title Slide Lines 3 Grey">
    <p:bg>
      <p:bgPr>
        <a:solidFill>
          <a:schemeClr val="dk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44"/>
          <p:cNvSpPr txBox="1">
            <a:spLocks noGrp="1"/>
          </p:cNvSpPr>
          <p:nvPr>
            <p:ph type="ctrTitle"/>
          </p:nvPr>
        </p:nvSpPr>
        <p:spPr>
          <a:xfrm>
            <a:off x="442912" y="428625"/>
            <a:ext cx="7418400" cy="277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Georgia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4"/>
          <p:cNvSpPr txBox="1">
            <a:spLocks noGrp="1"/>
          </p:cNvSpPr>
          <p:nvPr>
            <p:ph type="subTitle" idx="1"/>
          </p:nvPr>
        </p:nvSpPr>
        <p:spPr>
          <a:xfrm>
            <a:off x="442913" y="3394710"/>
            <a:ext cx="54741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>
  <p:cSld name="Thank You Dark">
    <p:bg>
      <p:bgPr>
        <a:solidFill>
          <a:srgbClr val="464646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g22aaf9e968d_4_435"/>
          <p:cNvSpPr txBox="1">
            <a:spLocks noGrp="1"/>
          </p:cNvSpPr>
          <p:nvPr>
            <p:ph type="ctrTitle"/>
          </p:nvPr>
        </p:nvSpPr>
        <p:spPr>
          <a:xfrm>
            <a:off x="442914" y="428625"/>
            <a:ext cx="54735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800"/>
              <a:buFont typeface="Georgia"/>
              <a:buNone/>
              <a:defRPr sz="58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8" name="Google Shape;88;g22aaf9e968d_4_435"/>
          <p:cNvSpPr txBox="1">
            <a:spLocks noGrp="1"/>
          </p:cNvSpPr>
          <p:nvPr>
            <p:ph type="body" idx="1"/>
          </p:nvPr>
        </p:nvSpPr>
        <p:spPr>
          <a:xfrm>
            <a:off x="442912" y="5259600"/>
            <a:ext cx="11306100" cy="145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22aaf9e968d_4_438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g22aaf9e968d_4_438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2" name="Google Shape;92;g22aaf9e968d_4_438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obj">
  <p:cSld name="OBJEC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22aaf9e968d_4_442"/>
          <p:cNvSpPr txBox="1">
            <a:spLocks noGrp="1"/>
          </p:cNvSpPr>
          <p:nvPr>
            <p:ph type="body" idx="1"/>
          </p:nvPr>
        </p:nvSpPr>
        <p:spPr>
          <a:xfrm>
            <a:off x="442912" y="2103120"/>
            <a:ext cx="113061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Georgia"/>
              <a:buAutoNum type="arabicPeriod"/>
              <a:defRPr sz="2800" b="0">
                <a:solidFill>
                  <a:schemeClr val="dk1"/>
                </a:solidFill>
              </a:defRPr>
            </a:lvl1pPr>
            <a:lvl2pPr marL="914400" lvl="1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Font typeface="Georgia"/>
              <a:buNone/>
              <a:defRPr sz="1600"/>
            </a:lvl2pPr>
            <a:lvl3pPr marL="137160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g22aaf9e968d_4_442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g22aaf9e968d_4_442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97" name="Google Shape;97;g22aaf9e968d_4_442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8" name="Google Shape;98;g22aaf9e968d_4_442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>
  <p:cSld name="Three Images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Google Shape;100;g22aaf9e968d_4_448"/>
          <p:cNvPicPr preferRelativeResize="0"/>
          <p:nvPr/>
        </p:nvPicPr>
        <p:blipFill rotWithShape="1">
          <a:blip r:embed="rId2">
            <a:alphaModFix/>
          </a:blip>
          <a:srcRect t="16653" r="16142" b="68013"/>
          <a:stretch/>
        </p:blipFill>
        <p:spPr>
          <a:xfrm>
            <a:off x="0" y="0"/>
            <a:ext cx="12188825" cy="900411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g22aaf9e968d_4_448"/>
          <p:cNvSpPr>
            <a:spLocks noGrp="1"/>
          </p:cNvSpPr>
          <p:nvPr>
            <p:ph type="pic" idx="2"/>
          </p:nvPr>
        </p:nvSpPr>
        <p:spPr>
          <a:xfrm>
            <a:off x="442912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102" name="Google Shape;102;g22aaf9e968d_4_448"/>
          <p:cNvSpPr txBox="1">
            <a:spLocks noGrp="1"/>
          </p:cNvSpPr>
          <p:nvPr>
            <p:ph type="body" idx="1"/>
          </p:nvPr>
        </p:nvSpPr>
        <p:spPr>
          <a:xfrm>
            <a:off x="442913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g22aaf9e968d_4_448"/>
          <p:cNvSpPr>
            <a:spLocks noGrp="1"/>
          </p:cNvSpPr>
          <p:nvPr>
            <p:ph type="pic" idx="3"/>
          </p:nvPr>
        </p:nvSpPr>
        <p:spPr>
          <a:xfrm>
            <a:off x="4331494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104" name="Google Shape;104;g22aaf9e968d_4_448"/>
          <p:cNvSpPr txBox="1">
            <a:spLocks noGrp="1"/>
          </p:cNvSpPr>
          <p:nvPr>
            <p:ph type="body" idx="4"/>
          </p:nvPr>
        </p:nvSpPr>
        <p:spPr>
          <a:xfrm>
            <a:off x="4331495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g22aaf9e968d_4_448"/>
          <p:cNvSpPr>
            <a:spLocks noGrp="1"/>
          </p:cNvSpPr>
          <p:nvPr>
            <p:ph type="pic" idx="5"/>
          </p:nvPr>
        </p:nvSpPr>
        <p:spPr>
          <a:xfrm>
            <a:off x="8220075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106" name="Google Shape;106;g22aaf9e968d_4_448"/>
          <p:cNvSpPr txBox="1">
            <a:spLocks noGrp="1"/>
          </p:cNvSpPr>
          <p:nvPr>
            <p:ph type="body" idx="6"/>
          </p:nvPr>
        </p:nvSpPr>
        <p:spPr>
          <a:xfrm>
            <a:off x="8220076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" name="Google Shape;107;g22aaf9e968d_4_44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08" name="Google Shape;108;g22aaf9e968d_4_44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g22aaf9e968d_4_448"/>
          <p:cNvSpPr txBox="1"/>
          <p:nvPr/>
        </p:nvSpPr>
        <p:spPr>
          <a:xfrm>
            <a:off x="348343" y="6660112"/>
            <a:ext cx="2492700" cy="1692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0" indent="-1130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g22aaf9e968d_4_448"/>
          <p:cNvSpPr txBox="1"/>
          <p:nvPr/>
        </p:nvSpPr>
        <p:spPr>
          <a:xfrm>
            <a:off x="8665029" y="6643735"/>
            <a:ext cx="2492700" cy="1692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0" indent="-1130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85139" y="5330952"/>
            <a:ext cx="1636776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612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16pt text - Subtitle, dark">
  <p:cSld name="Title and Content - Subtitle_1">
    <p:bg>
      <p:bgPr>
        <a:solidFill>
          <a:schemeClr val="dk1"/>
        </a:solidFill>
        <a:effectLst/>
      </p:bgPr>
    </p:bg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5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657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0" name="Google Shape;20;p4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 sz="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22" name="Google Shape;22;p45"/>
          <p:cNvSpPr txBox="1"/>
          <p:nvPr/>
        </p:nvSpPr>
        <p:spPr>
          <a:xfrm>
            <a:off x="10919624" y="6492240"/>
            <a:ext cx="50947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r>
              <a:rPr lang="en-US" sz="75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June 2023</a:t>
            </a:r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16pt text - Subtitle, dark">
  <p:cSld name="1_Title, 16pt text - Subtitle, dark">
    <p:bg>
      <p:bgPr>
        <a:solidFill>
          <a:schemeClr val="dk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25" name="Google Shape;25;p46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27" name="Google Shape;27;p46"/>
          <p:cNvSpPr txBox="1"/>
          <p:nvPr/>
        </p:nvSpPr>
        <p:spPr>
          <a:xfrm>
            <a:off x="10919624" y="6492240"/>
            <a:ext cx="50947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r>
              <a:rPr lang="en-US" sz="75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ne 2023</a:t>
            </a:r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">
  <p:cSld name="Five Conten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7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441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0" name="Google Shape;30;p47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31" name="Google Shape;31;p47"/>
          <p:cNvSpPr/>
          <p:nvPr/>
        </p:nvSpPr>
        <p:spPr>
          <a:xfrm>
            <a:off x="11731890" y="0"/>
            <a:ext cx="460109" cy="407592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47"/>
          <p:cNvSpPr/>
          <p:nvPr/>
        </p:nvSpPr>
        <p:spPr>
          <a:xfrm>
            <a:off x="11553370" y="294190"/>
            <a:ext cx="297660" cy="2635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47"/>
          <p:cNvSpPr/>
          <p:nvPr/>
        </p:nvSpPr>
        <p:spPr>
          <a:xfrm>
            <a:off x="0" y="5495472"/>
            <a:ext cx="297660" cy="4191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47"/>
          <p:cNvSpPr/>
          <p:nvPr/>
        </p:nvSpPr>
        <p:spPr>
          <a:xfrm>
            <a:off x="2540000" y="6559200"/>
            <a:ext cx="417600" cy="298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Dark">
  <p:cSld name="Thank You Dark">
    <p:bg>
      <p:bgPr>
        <a:solidFill>
          <a:srgbClr val="464646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48"/>
          <p:cNvSpPr txBox="1">
            <a:spLocks noGrp="1"/>
          </p:cNvSpPr>
          <p:nvPr>
            <p:ph type="ctrTitle"/>
          </p:nvPr>
        </p:nvSpPr>
        <p:spPr>
          <a:xfrm>
            <a:off x="442914" y="428625"/>
            <a:ext cx="54735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800"/>
              <a:buFont typeface="Georgia"/>
              <a:buNone/>
              <a:defRPr sz="58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7" name="Google Shape;37;p48"/>
          <p:cNvSpPr txBox="1">
            <a:spLocks noGrp="1"/>
          </p:cNvSpPr>
          <p:nvPr>
            <p:ph type="body" idx="1"/>
          </p:nvPr>
        </p:nvSpPr>
        <p:spPr>
          <a:xfrm>
            <a:off x="442912" y="5259600"/>
            <a:ext cx="11306100" cy="145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">
  <p:cSld name="1_Agenda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g24ec1f4d9be_0_367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g24ec1f4d9be_0_36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1" name="Google Shape;41;g24ec1f4d9be_0_36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obj">
  <p:cSld name="OBJEC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g24f920d0cc1_0_561"/>
          <p:cNvSpPr txBox="1">
            <a:spLocks noGrp="1"/>
          </p:cNvSpPr>
          <p:nvPr>
            <p:ph type="body" idx="1"/>
          </p:nvPr>
        </p:nvSpPr>
        <p:spPr>
          <a:xfrm>
            <a:off x="442912" y="2103120"/>
            <a:ext cx="113061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Georgia"/>
              <a:buAutoNum type="arabicPeriod"/>
              <a:defRPr sz="2800" b="0">
                <a:solidFill>
                  <a:schemeClr val="dk1"/>
                </a:solidFill>
              </a:defRPr>
            </a:lvl1pPr>
            <a:lvl2pPr marL="914400" lvl="1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1600"/>
              <a:buFont typeface="Georgia"/>
              <a:buNone/>
              <a:defRPr sz="1600"/>
            </a:lvl2pPr>
            <a:lvl3pPr marL="137160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g24f920d0cc1_0_561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g24f920d0cc1_0_56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46" name="Google Shape;46;g24f920d0cc1_0_56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7" name="Google Shape;47;g24f920d0cc1_0_561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>
  <p:cSld name="Three Images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oogle Shape;49;g25235449c07_0_1006"/>
          <p:cNvPicPr preferRelativeResize="0"/>
          <p:nvPr/>
        </p:nvPicPr>
        <p:blipFill rotWithShape="1">
          <a:blip r:embed="rId2">
            <a:alphaModFix/>
          </a:blip>
          <a:srcRect t="16653" r="16142" b="68014"/>
          <a:stretch/>
        </p:blipFill>
        <p:spPr>
          <a:xfrm>
            <a:off x="0" y="0"/>
            <a:ext cx="12188827" cy="900411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50;g25235449c07_0_1006"/>
          <p:cNvSpPr>
            <a:spLocks noGrp="1"/>
          </p:cNvSpPr>
          <p:nvPr>
            <p:ph type="pic" idx="2"/>
          </p:nvPr>
        </p:nvSpPr>
        <p:spPr>
          <a:xfrm>
            <a:off x="442912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51" name="Google Shape;51;g25235449c07_0_1006"/>
          <p:cNvSpPr txBox="1">
            <a:spLocks noGrp="1"/>
          </p:cNvSpPr>
          <p:nvPr>
            <p:ph type="body" idx="1"/>
          </p:nvPr>
        </p:nvSpPr>
        <p:spPr>
          <a:xfrm>
            <a:off x="442913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g25235449c07_0_1006"/>
          <p:cNvSpPr>
            <a:spLocks noGrp="1"/>
          </p:cNvSpPr>
          <p:nvPr>
            <p:ph type="pic" idx="3"/>
          </p:nvPr>
        </p:nvSpPr>
        <p:spPr>
          <a:xfrm>
            <a:off x="4331494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53" name="Google Shape;53;g25235449c07_0_1006"/>
          <p:cNvSpPr txBox="1">
            <a:spLocks noGrp="1"/>
          </p:cNvSpPr>
          <p:nvPr>
            <p:ph type="body" idx="4"/>
          </p:nvPr>
        </p:nvSpPr>
        <p:spPr>
          <a:xfrm>
            <a:off x="4331495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g25235449c07_0_1006"/>
          <p:cNvSpPr>
            <a:spLocks noGrp="1"/>
          </p:cNvSpPr>
          <p:nvPr>
            <p:ph type="pic" idx="5"/>
          </p:nvPr>
        </p:nvSpPr>
        <p:spPr>
          <a:xfrm>
            <a:off x="8220075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</p:sp>
      <p:sp>
        <p:nvSpPr>
          <p:cNvPr id="55" name="Google Shape;55;g25235449c07_0_1006"/>
          <p:cNvSpPr txBox="1">
            <a:spLocks noGrp="1"/>
          </p:cNvSpPr>
          <p:nvPr>
            <p:ph type="body" idx="6"/>
          </p:nvPr>
        </p:nvSpPr>
        <p:spPr>
          <a:xfrm>
            <a:off x="8220076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g25235449c07_0_100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57" name="Google Shape;57;g25235449c07_0_100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g25235449c07_0_1006"/>
          <p:cNvSpPr txBox="1"/>
          <p:nvPr/>
        </p:nvSpPr>
        <p:spPr>
          <a:xfrm>
            <a:off x="348343" y="6660112"/>
            <a:ext cx="2492700" cy="1692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0" indent="-1130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59;g25235449c07_0_1006"/>
          <p:cNvSpPr txBox="1"/>
          <p:nvPr/>
        </p:nvSpPr>
        <p:spPr>
          <a:xfrm>
            <a:off x="8665029" y="6643735"/>
            <a:ext cx="2492700" cy="1692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82880" marR="0" lvl="0" indent="-11302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ve Content">
  <p:cSld name="Five Conten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g22aaf9e968d_4_418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44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1" name="Google Shape;71;g22aaf9e968d_4_418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2" name="Google Shape;72;g22aaf9e968d_4_418"/>
          <p:cNvSpPr/>
          <p:nvPr/>
        </p:nvSpPr>
        <p:spPr>
          <a:xfrm>
            <a:off x="11731890" y="0"/>
            <a:ext cx="460200" cy="407700"/>
          </a:xfrm>
          <a:prstGeom prst="rect">
            <a:avLst/>
          </a:prstGeom>
          <a:solidFill>
            <a:srgbClr val="FFB6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Google Shape;73;g22aaf9e968d_4_418"/>
          <p:cNvSpPr/>
          <p:nvPr/>
        </p:nvSpPr>
        <p:spPr>
          <a:xfrm>
            <a:off x="11553370" y="294190"/>
            <a:ext cx="297600" cy="263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g22aaf9e968d_4_418"/>
          <p:cNvSpPr/>
          <p:nvPr/>
        </p:nvSpPr>
        <p:spPr>
          <a:xfrm>
            <a:off x="0" y="5495472"/>
            <a:ext cx="297600" cy="4191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g22aaf9e968d_4_418"/>
          <p:cNvSpPr/>
          <p:nvPr/>
        </p:nvSpPr>
        <p:spPr>
          <a:xfrm>
            <a:off x="2540000" y="6559200"/>
            <a:ext cx="417600" cy="298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3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444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43"/>
          <p:cNvSpPr txBox="1">
            <a:spLocks noGrp="1"/>
          </p:cNvSpPr>
          <p:nvPr>
            <p:ph type="body" idx="1"/>
          </p:nvPr>
        </p:nvSpPr>
        <p:spPr>
          <a:xfrm>
            <a:off x="442913" y="1123951"/>
            <a:ext cx="11306100" cy="5048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900"/>
              <a:buFont typeface="Arial"/>
              <a:buNone/>
              <a:defRPr sz="19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43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14" name="Google Shape;14;p43"/>
          <p:cNvSpPr txBox="1"/>
          <p:nvPr/>
        </p:nvSpPr>
        <p:spPr>
          <a:xfrm>
            <a:off x="10919624" y="6492240"/>
            <a:ext cx="50947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r>
              <a:rPr lang="en-US" sz="75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ne 2023</a:t>
            </a:r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708">
          <p15:clr>
            <a:srgbClr val="F26B43"/>
          </p15:clr>
        </p15:guide>
        <p15:guide id="13" orient="horz" pos="550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22aaf9e968d_4_409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4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" name="Google Shape;62;g22aaf9e968d_4_409"/>
          <p:cNvSpPr txBox="1">
            <a:spLocks noGrp="1"/>
          </p:cNvSpPr>
          <p:nvPr>
            <p:ph type="body" idx="1"/>
          </p:nvPr>
        </p:nvSpPr>
        <p:spPr>
          <a:xfrm>
            <a:off x="442913" y="1123951"/>
            <a:ext cx="11306100" cy="504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1900"/>
              <a:buFont typeface="Arial"/>
              <a:buNone/>
              <a:defRPr sz="19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90000"/>
              </a:lnSpc>
              <a:spcBef>
                <a:spcPts val="700"/>
              </a:spcBef>
              <a:spcAft>
                <a:spcPts val="0"/>
              </a:spcAft>
              <a:buClr>
                <a:schemeClr val="accent6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Clr>
                <a:schemeClr val="accent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3" name="Google Shape;63;g22aaf9e968d_4_409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65" name="Google Shape;65;g22aaf9e968d_4_409"/>
          <p:cNvSpPr txBox="1"/>
          <p:nvPr/>
        </p:nvSpPr>
        <p:spPr>
          <a:xfrm>
            <a:off x="10919624" y="6492240"/>
            <a:ext cx="5094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</a:pPr>
            <a:r>
              <a:rPr lang="en-US" sz="75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June 2023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2" r:id="rId2"/>
    <p:sldLayoutId id="2147483663" r:id="rId3"/>
    <p:sldLayoutId id="2147483664" r:id="rId4"/>
    <p:sldLayoutId id="2147483665" r:id="rId5"/>
    <p:sldLayoutId id="2147483668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708">
          <p15:clr>
            <a:srgbClr val="F26B43"/>
          </p15:clr>
        </p15:guide>
        <p15:guide id="13" orient="horz" pos="550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writing on a piece of paper&#10;&#10;Description automatically generated with low confidence">
            <a:extLst>
              <a:ext uri="{FF2B5EF4-FFF2-40B4-BE49-F238E27FC236}">
                <a16:creationId xmlns:a16="http://schemas.microsoft.com/office/drawing/2014/main" id="{56321190-B438-47F4-93E8-91CB4F775A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4784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A5ADF5C-7A38-1711-C4FD-3900E3D258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A5ADF5C-7A38-1711-C4FD-3900E3D25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C238757A-3C97-05A2-9A81-A4BB8FBE62C1}"/>
              </a:ext>
            </a:extLst>
          </p:cNvPr>
          <p:cNvSpPr/>
          <p:nvPr/>
        </p:nvSpPr>
        <p:spPr>
          <a:xfrm>
            <a:off x="3048" y="0"/>
            <a:ext cx="12188952" cy="6857999"/>
          </a:xfrm>
          <a:prstGeom prst="rect">
            <a:avLst/>
          </a:prstGeom>
          <a:solidFill>
            <a:srgbClr val="000000">
              <a:alpha val="15000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8C7360-5773-9342-EBA5-D6890CF2D2DE}"/>
              </a:ext>
            </a:extLst>
          </p:cNvPr>
          <p:cNvSpPr>
            <a:spLocks/>
          </p:cNvSpPr>
          <p:nvPr/>
        </p:nvSpPr>
        <p:spPr bwMode="gray">
          <a:xfrm>
            <a:off x="0" y="4797096"/>
            <a:ext cx="12192000" cy="1375104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C91409-74A9-EB0E-8CA9-CFE7ED3D3FC4}"/>
              </a:ext>
            </a:extLst>
          </p:cNvPr>
          <p:cNvSpPr txBox="1"/>
          <p:nvPr/>
        </p:nvSpPr>
        <p:spPr>
          <a:xfrm>
            <a:off x="2139351" y="4980554"/>
            <a:ext cx="8894403" cy="52623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rtl="0">
              <a:lnSpc>
                <a:spcPct val="1006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</a:pPr>
            <a:r>
              <a:rPr lang="en-US" sz="3600" b="0" i="0" u="none" strike="noStrike" cap="none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Corporate Governance in Startups</a:t>
            </a:r>
            <a:endParaRPr lang="en-US"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BCBE94-F6C7-6743-02B9-2CF75A80FC4E}"/>
              </a:ext>
            </a:extLst>
          </p:cNvPr>
          <p:cNvSpPr txBox="1"/>
          <p:nvPr/>
        </p:nvSpPr>
        <p:spPr>
          <a:xfrm>
            <a:off x="2215551" y="5654828"/>
            <a:ext cx="236707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chemeClr val="lt1"/>
              </a:buClr>
              <a:buSzPts val="1800"/>
            </a:pPr>
            <a:r>
              <a:rPr lang="en-US" sz="2400" b="1" dirty="0">
                <a:solidFill>
                  <a:schemeClr val="accent2"/>
                </a:solidFill>
                <a:latin typeface="Georgia" panose="02040502050405020303" pitchFamily="18" charset="0"/>
              </a:rPr>
              <a:t>Omkar Kud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475FDC-C7DA-5D6D-1A6A-EE4914520B6F}"/>
              </a:ext>
            </a:extLst>
          </p:cNvPr>
          <p:cNvCxnSpPr>
            <a:cxnSpLocks/>
          </p:cNvCxnSpPr>
          <p:nvPr/>
        </p:nvCxnSpPr>
        <p:spPr>
          <a:xfrm>
            <a:off x="1899745" y="4984093"/>
            <a:ext cx="0" cy="1001110"/>
          </a:xfrm>
          <a:prstGeom prst="line">
            <a:avLst/>
          </a:prstGeom>
          <a:ln w="6350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267332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22aaf9e968d_4_293"/>
          <p:cNvSpPr txBox="1">
            <a:spLocks noGrp="1"/>
          </p:cNvSpPr>
          <p:nvPr>
            <p:ph type="title"/>
          </p:nvPr>
        </p:nvSpPr>
        <p:spPr>
          <a:xfrm>
            <a:off x="442906" y="432000"/>
            <a:ext cx="11306100" cy="49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400" dirty="0"/>
              <a:t>The bright spots and the darker side of startup ecosystem</a:t>
            </a:r>
            <a:endParaRPr sz="2000" dirty="0"/>
          </a:p>
        </p:txBody>
      </p:sp>
      <p:sp>
        <p:nvSpPr>
          <p:cNvPr id="183" name="Google Shape;183;g22aaf9e968d_4_293"/>
          <p:cNvSpPr txBox="1">
            <a:spLocks noGrp="1"/>
          </p:cNvSpPr>
          <p:nvPr>
            <p:ph type="sldNum" idx="12"/>
          </p:nvPr>
        </p:nvSpPr>
        <p:spPr>
          <a:xfrm>
            <a:off x="8217680" y="6492240"/>
            <a:ext cx="35304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sp>
        <p:nvSpPr>
          <p:cNvPr id="139" name="Google Shape;7654;p418">
            <a:extLst>
              <a:ext uri="{FF2B5EF4-FFF2-40B4-BE49-F238E27FC236}">
                <a16:creationId xmlns:a16="http://schemas.microsoft.com/office/drawing/2014/main" id="{1B3538F4-C42A-4460-AD26-97B67BFD311E}"/>
              </a:ext>
            </a:extLst>
          </p:cNvPr>
          <p:cNvSpPr/>
          <p:nvPr/>
        </p:nvSpPr>
        <p:spPr>
          <a:xfrm>
            <a:off x="312425" y="1661569"/>
            <a:ext cx="5445651" cy="46028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grpSp>
        <p:nvGrpSpPr>
          <p:cNvPr id="142" name="Google Shape;7694;p418">
            <a:extLst>
              <a:ext uri="{FF2B5EF4-FFF2-40B4-BE49-F238E27FC236}">
                <a16:creationId xmlns:a16="http://schemas.microsoft.com/office/drawing/2014/main" id="{821177B3-0D92-4B34-A9D9-6480E0B14022}"/>
              </a:ext>
            </a:extLst>
          </p:cNvPr>
          <p:cNvGrpSpPr/>
          <p:nvPr/>
        </p:nvGrpSpPr>
        <p:grpSpPr>
          <a:xfrm>
            <a:off x="465919" y="1790722"/>
            <a:ext cx="5137030" cy="4367137"/>
            <a:chOff x="4398353" y="1002046"/>
            <a:chExt cx="4514236" cy="3836655"/>
          </a:xfrm>
        </p:grpSpPr>
        <p:sp>
          <p:nvSpPr>
            <p:cNvPr id="143" name="Google Shape;7695;p418">
              <a:extLst>
                <a:ext uri="{FF2B5EF4-FFF2-40B4-BE49-F238E27FC236}">
                  <a16:creationId xmlns:a16="http://schemas.microsoft.com/office/drawing/2014/main" id="{0E63A88C-E7A8-41D5-905C-E27C18B2FF27}"/>
                </a:ext>
              </a:extLst>
            </p:cNvPr>
            <p:cNvSpPr/>
            <p:nvPr/>
          </p:nvSpPr>
          <p:spPr>
            <a:xfrm flipH="1">
              <a:off x="4398360" y="1002050"/>
              <a:ext cx="2103300" cy="1307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3</a:t>
              </a:r>
              <a:r>
                <a:rPr kumimoji="0" lang="en-US" sz="2800" b="1" i="0" u="none" strike="noStrike" kern="0" cap="none" spc="0" normalizeH="0" baseline="3000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r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Largest startup ecosystem in the world as on 31 May 2023</a:t>
              </a:r>
            </a:p>
          </p:txBody>
        </p:sp>
        <p:sp>
          <p:nvSpPr>
            <p:cNvPr id="144" name="Google Shape;7696;p418">
              <a:extLst>
                <a:ext uri="{FF2B5EF4-FFF2-40B4-BE49-F238E27FC236}">
                  <a16:creationId xmlns:a16="http://schemas.microsoft.com/office/drawing/2014/main" id="{E8F87234-8A82-4D7B-A308-1C6BA047DDE0}"/>
                </a:ext>
              </a:extLst>
            </p:cNvPr>
            <p:cNvSpPr/>
            <p:nvPr/>
          </p:nvSpPr>
          <p:spPr>
            <a:xfrm flipH="1">
              <a:off x="6598689" y="1002046"/>
              <a:ext cx="2313900" cy="1307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>
                <a:buClr>
                  <a:schemeClr val="dk1"/>
                </a:buClr>
                <a:buSzPts val="1100"/>
              </a:pPr>
              <a:r>
                <a:rPr lang="en" sz="2800" b="1" dirty="0">
                  <a:solidFill>
                    <a:srgbClr val="E1301E"/>
                  </a:solidFill>
                  <a:latin typeface="Georgia" panose="02040502050405020303" pitchFamily="18" charset="0"/>
                </a:rPr>
                <a:t>2</a:t>
              </a:r>
              <a:r>
                <a:rPr lang="en" sz="2800" b="1" baseline="30000" dirty="0">
                  <a:solidFill>
                    <a:srgbClr val="E1301E"/>
                  </a:solidFill>
                  <a:latin typeface="Georgia" panose="02040502050405020303" pitchFamily="18" charset="0"/>
                </a:rPr>
                <a:t>nd</a:t>
              </a:r>
              <a:endParaRPr sz="2800" b="1" baseline="30000" dirty="0">
                <a:solidFill>
                  <a:srgbClr val="E1301E"/>
                </a:solidFill>
                <a:latin typeface="Georgia" panose="02040502050405020303" pitchFamily="18" charset="0"/>
              </a:endParaRPr>
            </a:p>
            <a:p>
              <a:pPr>
                <a:buClr>
                  <a:schemeClr val="dk1"/>
                </a:buClr>
                <a:buSzPts val="1100"/>
              </a:pPr>
              <a:endParaRPr lang="en-US" sz="1200" dirty="0">
                <a:solidFill>
                  <a:schemeClr val="dk1"/>
                </a:solidFill>
                <a:latin typeface="Georgia" panose="02040502050405020303" pitchFamily="18" charset="0"/>
              </a:endParaRPr>
            </a:p>
            <a:p>
              <a:pPr>
                <a:buClr>
                  <a:schemeClr val="dk1"/>
                </a:buClr>
                <a:buSzPts val="1100"/>
              </a:pPr>
              <a:r>
                <a:rPr lang="en-US" sz="1200" dirty="0">
                  <a:solidFill>
                    <a:schemeClr val="dk1"/>
                  </a:solidFill>
                  <a:latin typeface="Georgia" panose="02040502050405020303" pitchFamily="18" charset="0"/>
                </a:rPr>
                <a:t>I</a:t>
              </a:r>
              <a:r>
                <a:rPr lang="en" sz="1200" dirty="0">
                  <a:solidFill>
                    <a:schemeClr val="dk1"/>
                  </a:solidFill>
                  <a:latin typeface="Georgia" panose="02040502050405020303" pitchFamily="18" charset="0"/>
                </a:rPr>
                <a:t>n Innovation quality, specifically the quality of scientific publications and universitites </a:t>
              </a:r>
              <a:endParaRPr sz="1200" dirty="0">
                <a:solidFill>
                  <a:schemeClr val="dk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5" name="Google Shape;7697;p418">
              <a:extLst>
                <a:ext uri="{FF2B5EF4-FFF2-40B4-BE49-F238E27FC236}">
                  <a16:creationId xmlns:a16="http://schemas.microsoft.com/office/drawing/2014/main" id="{49FEE3A3-1C02-4D1C-8695-0A6E6EED6E4E}"/>
                </a:ext>
              </a:extLst>
            </p:cNvPr>
            <p:cNvSpPr/>
            <p:nvPr/>
          </p:nvSpPr>
          <p:spPr>
            <a:xfrm flipH="1">
              <a:off x="4398360" y="2407380"/>
              <a:ext cx="2103300" cy="11382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99,000+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Startups recognized by DPIIT, India as on 5 July 2023</a:t>
              </a:r>
            </a:p>
          </p:txBody>
        </p:sp>
        <p:sp>
          <p:nvSpPr>
            <p:cNvPr id="146" name="Google Shape;7698;p418">
              <a:extLst>
                <a:ext uri="{FF2B5EF4-FFF2-40B4-BE49-F238E27FC236}">
                  <a16:creationId xmlns:a16="http://schemas.microsoft.com/office/drawing/2014/main" id="{DF4614D3-434B-40D1-AA2D-8EF55C7CB9D3}"/>
                </a:ext>
              </a:extLst>
            </p:cNvPr>
            <p:cNvSpPr/>
            <p:nvPr/>
          </p:nvSpPr>
          <p:spPr>
            <a:xfrm flipH="1">
              <a:off x="6598689" y="2407380"/>
              <a:ext cx="2313900" cy="11382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900,000+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Direct job creation by the end of 2022 as per DPITT</a:t>
              </a:r>
            </a:p>
          </p:txBody>
        </p:sp>
        <p:sp>
          <p:nvSpPr>
            <p:cNvPr id="147" name="Google Shape;7699;p418">
              <a:extLst>
                <a:ext uri="{FF2B5EF4-FFF2-40B4-BE49-F238E27FC236}">
                  <a16:creationId xmlns:a16="http://schemas.microsoft.com/office/drawing/2014/main" id="{25C1D274-5E1C-44D8-9AE1-215562644118}"/>
                </a:ext>
              </a:extLst>
            </p:cNvPr>
            <p:cNvSpPr/>
            <p:nvPr/>
          </p:nvSpPr>
          <p:spPr>
            <a:xfrm flipH="1">
              <a:off x="4398353" y="3639300"/>
              <a:ext cx="2096044" cy="1199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48%+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lang="en-US" sz="1200" dirty="0">
                <a:latin typeface="Georgia" panose="02040502050405020303" pitchFamily="18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lang="en-US" sz="1200" dirty="0">
                  <a:latin typeface="Georgia" panose="02040502050405020303" pitchFamily="18" charset="0"/>
                </a:rPr>
                <a:t>firms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 in tier 2-3 cities, across 670 districts as on 31 May 2023</a:t>
              </a:r>
            </a:p>
          </p:txBody>
        </p:sp>
        <p:sp>
          <p:nvSpPr>
            <p:cNvPr id="148" name="Google Shape;7700;p418">
              <a:extLst>
                <a:ext uri="{FF2B5EF4-FFF2-40B4-BE49-F238E27FC236}">
                  <a16:creationId xmlns:a16="http://schemas.microsoft.com/office/drawing/2014/main" id="{E604AB01-8577-4CCD-8E5E-19A5C400E8C3}"/>
                </a:ext>
              </a:extLst>
            </p:cNvPr>
            <p:cNvSpPr/>
            <p:nvPr/>
          </p:nvSpPr>
          <p:spPr>
            <a:xfrm flipH="1">
              <a:off x="6598688" y="3639301"/>
              <a:ext cx="2313900" cy="1199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lt1"/>
            </a:solidFill>
            <a:ln w="9525" cap="flat" cmpd="sng">
              <a:solidFill>
                <a:srgbClr val="E0301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E1301E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10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cs typeface="Arial"/>
                  <a:sym typeface="Arial"/>
                </a:rPr>
                <a:t>Unicorns as on May 2023 with a valuation of ~ USD 341 Billion </a:t>
              </a:r>
            </a:p>
          </p:txBody>
        </p:sp>
      </p:grpSp>
      <p:sp>
        <p:nvSpPr>
          <p:cNvPr id="244" name="Google Shape;183;g22aaf9e968d_4_293">
            <a:extLst>
              <a:ext uri="{FF2B5EF4-FFF2-40B4-BE49-F238E27FC236}">
                <a16:creationId xmlns:a16="http://schemas.microsoft.com/office/drawing/2014/main" id="{E145FE1E-6591-439F-9845-348C034E8504}"/>
              </a:ext>
            </a:extLst>
          </p:cNvPr>
          <p:cNvSpPr txBox="1">
            <a:spLocks/>
          </p:cNvSpPr>
          <p:nvPr/>
        </p:nvSpPr>
        <p:spPr>
          <a:xfrm>
            <a:off x="7573527" y="6476866"/>
            <a:ext cx="35304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700"/>
            </a:pPr>
            <a:fld id="{00000000-1234-1234-1234-123412341234}" type="slidenum">
              <a:rPr lang="en-US" smtClean="0"/>
              <a:pPr>
                <a:buSzPts val="700"/>
              </a:pPr>
              <a:t>2</a:t>
            </a:fld>
            <a:endParaRPr lang="en-US" dirty="0"/>
          </a:p>
        </p:txBody>
      </p:sp>
      <p:grpSp>
        <p:nvGrpSpPr>
          <p:cNvPr id="276" name="Google Shape;5983;p399">
            <a:extLst>
              <a:ext uri="{FF2B5EF4-FFF2-40B4-BE49-F238E27FC236}">
                <a16:creationId xmlns:a16="http://schemas.microsoft.com/office/drawing/2014/main" id="{1F885400-34FF-4016-B119-864FA4C19463}"/>
              </a:ext>
            </a:extLst>
          </p:cNvPr>
          <p:cNvGrpSpPr/>
          <p:nvPr/>
        </p:nvGrpSpPr>
        <p:grpSpPr>
          <a:xfrm rot="-5400000">
            <a:off x="3939581" y="3772011"/>
            <a:ext cx="4429421" cy="449649"/>
            <a:chOff x="2429617" y="2282170"/>
            <a:chExt cx="2055900" cy="193720"/>
          </a:xfrm>
        </p:grpSpPr>
        <p:cxnSp>
          <p:nvCxnSpPr>
            <p:cNvPr id="277" name="Google Shape;5984;p399">
              <a:extLst>
                <a:ext uri="{FF2B5EF4-FFF2-40B4-BE49-F238E27FC236}">
                  <a16:creationId xmlns:a16="http://schemas.microsoft.com/office/drawing/2014/main" id="{BCAFF3AD-8EFF-4EB8-92E3-982AB4E219D0}"/>
                </a:ext>
              </a:extLst>
            </p:cNvPr>
            <p:cNvCxnSpPr/>
            <p:nvPr/>
          </p:nvCxnSpPr>
          <p:spPr>
            <a:xfrm>
              <a:off x="2429617" y="2342751"/>
              <a:ext cx="2055900" cy="0"/>
            </a:xfrm>
            <a:prstGeom prst="straightConnector1">
              <a:avLst/>
            </a:prstGeom>
            <a:noFill/>
            <a:ln w="9525" cap="flat" cmpd="sng">
              <a:solidFill>
                <a:srgbClr val="464646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278" name="Google Shape;5985;p399">
              <a:extLst>
                <a:ext uri="{FF2B5EF4-FFF2-40B4-BE49-F238E27FC236}">
                  <a16:creationId xmlns:a16="http://schemas.microsoft.com/office/drawing/2014/main" id="{1AF16152-FE01-47A7-B6B0-21BCA0473039}"/>
                </a:ext>
              </a:extLst>
            </p:cNvPr>
            <p:cNvSpPr/>
            <p:nvPr/>
          </p:nvSpPr>
          <p:spPr>
            <a:xfrm>
              <a:off x="3225517" y="2282170"/>
              <a:ext cx="464100" cy="121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/>
            </a:p>
          </p:txBody>
        </p:sp>
        <p:grpSp>
          <p:nvGrpSpPr>
            <p:cNvPr id="279" name="Google Shape;5986;p399">
              <a:extLst>
                <a:ext uri="{FF2B5EF4-FFF2-40B4-BE49-F238E27FC236}">
                  <a16:creationId xmlns:a16="http://schemas.microsoft.com/office/drawing/2014/main" id="{75EABBAE-8A20-462D-B318-98A2A614D576}"/>
                </a:ext>
              </a:extLst>
            </p:cNvPr>
            <p:cNvGrpSpPr/>
            <p:nvPr/>
          </p:nvGrpSpPr>
          <p:grpSpPr>
            <a:xfrm>
              <a:off x="2810017" y="2302490"/>
              <a:ext cx="1295100" cy="173400"/>
              <a:chOff x="2647700" y="1717000"/>
              <a:chExt cx="1295100" cy="173400"/>
            </a:xfrm>
          </p:grpSpPr>
          <p:sp>
            <p:nvSpPr>
              <p:cNvPr id="280" name="Google Shape;5987;p399">
                <a:extLst>
                  <a:ext uri="{FF2B5EF4-FFF2-40B4-BE49-F238E27FC236}">
                    <a16:creationId xmlns:a16="http://schemas.microsoft.com/office/drawing/2014/main" id="{34F77B6C-C8E6-4846-93D8-B3572E91CEED}"/>
                  </a:ext>
                </a:extLst>
              </p:cNvPr>
              <p:cNvSpPr/>
              <p:nvPr/>
            </p:nvSpPr>
            <p:spPr>
              <a:xfrm rot="5400000">
                <a:off x="3208550" y="1664650"/>
                <a:ext cx="173400" cy="278100"/>
              </a:xfrm>
              <a:prstGeom prst="chevron">
                <a:avLst>
                  <a:gd name="adj" fmla="val 55378"/>
                </a:avLst>
              </a:pr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81" name="Google Shape;5988;p399">
                <a:extLst>
                  <a:ext uri="{FF2B5EF4-FFF2-40B4-BE49-F238E27FC236}">
                    <a16:creationId xmlns:a16="http://schemas.microsoft.com/office/drawing/2014/main" id="{51974E01-4C4A-4DBB-A406-A30FFDBEDB05}"/>
                  </a:ext>
                </a:extLst>
              </p:cNvPr>
              <p:cNvSpPr/>
              <p:nvPr/>
            </p:nvSpPr>
            <p:spPr>
              <a:xfrm>
                <a:off x="3434300" y="1717000"/>
                <a:ext cx="508500" cy="78000"/>
              </a:xfrm>
              <a:prstGeom prst="rect">
                <a:avLst/>
              </a:pr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82" name="Google Shape;5989;p399">
                <a:extLst>
                  <a:ext uri="{FF2B5EF4-FFF2-40B4-BE49-F238E27FC236}">
                    <a16:creationId xmlns:a16="http://schemas.microsoft.com/office/drawing/2014/main" id="{B05CEE6A-08A9-4D4A-B349-B97C86DA812B}"/>
                  </a:ext>
                </a:extLst>
              </p:cNvPr>
              <p:cNvSpPr/>
              <p:nvPr/>
            </p:nvSpPr>
            <p:spPr>
              <a:xfrm>
                <a:off x="2647700" y="1717000"/>
                <a:ext cx="508500" cy="78000"/>
              </a:xfrm>
              <a:prstGeom prst="rect">
                <a:avLst/>
              </a:prstGeom>
              <a:solidFill>
                <a:srgbClr val="464646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83" name="Google Shape;5990;p399">
                <a:extLst>
                  <a:ext uri="{FF2B5EF4-FFF2-40B4-BE49-F238E27FC236}">
                    <a16:creationId xmlns:a16="http://schemas.microsoft.com/office/drawing/2014/main" id="{3F1ADBF7-5FAF-48D5-BD96-248DABCD6B7E}"/>
                  </a:ext>
                </a:extLst>
              </p:cNvPr>
              <p:cNvSpPr/>
              <p:nvPr/>
            </p:nvSpPr>
            <p:spPr>
              <a:xfrm rot="10800000">
                <a:off x="3217250" y="1717000"/>
                <a:ext cx="156000" cy="63600"/>
              </a:xfrm>
              <a:prstGeom prst="triangle">
                <a:avLst>
                  <a:gd name="adj" fmla="val 50000"/>
                </a:avLst>
              </a:prstGeom>
              <a:solidFill>
                <a:srgbClr val="7D7D7D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1A76ED1-6D30-4E07-A88C-FB7B46C115CD}"/>
              </a:ext>
            </a:extLst>
          </p:cNvPr>
          <p:cNvGrpSpPr/>
          <p:nvPr/>
        </p:nvGrpSpPr>
        <p:grpSpPr>
          <a:xfrm>
            <a:off x="6338592" y="1619725"/>
            <a:ext cx="5409488" cy="4644743"/>
            <a:chOff x="6488663" y="1493740"/>
            <a:chExt cx="4590637" cy="4644743"/>
          </a:xfrm>
        </p:grpSpPr>
        <p:sp>
          <p:nvSpPr>
            <p:cNvPr id="245" name="Google Shape;5923;p399">
              <a:extLst>
                <a:ext uri="{FF2B5EF4-FFF2-40B4-BE49-F238E27FC236}">
                  <a16:creationId xmlns:a16="http://schemas.microsoft.com/office/drawing/2014/main" id="{E4B8839E-A6D5-49F6-B26B-BA7BC646992C}"/>
                </a:ext>
              </a:extLst>
            </p:cNvPr>
            <p:cNvSpPr/>
            <p:nvPr/>
          </p:nvSpPr>
          <p:spPr>
            <a:xfrm>
              <a:off x="6668500" y="1571550"/>
              <a:ext cx="4410800" cy="6588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82867" tIns="60933" rIns="60933" bIns="60933" anchor="ctr" anchorCtr="0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  <a:latin typeface="Georgia" panose="02040502050405020303" pitchFamily="18" charset="0"/>
                </a:rPr>
                <a:t>Funding winter </a:t>
              </a:r>
              <a:r>
                <a:rPr lang="en-US" sz="1200" dirty="0">
                  <a:solidFill>
                    <a:srgbClr val="000000"/>
                  </a:solidFill>
                  <a:latin typeface="Georgia" panose="02040502050405020303" pitchFamily="18" charset="0"/>
                </a:rPr>
                <a:t>leading to dried up liquidity, </a:t>
              </a:r>
              <a:r>
                <a:rPr lang="en-US" sz="1200" b="1" dirty="0">
                  <a:solidFill>
                    <a:srgbClr val="000000"/>
                  </a:solidFill>
                  <a:latin typeface="Georgia" panose="02040502050405020303" pitchFamily="18" charset="0"/>
                </a:rPr>
                <a:t>year-on-year decline of nearly 80%</a:t>
              </a:r>
              <a:r>
                <a:rPr lang="en-US" sz="1200" dirty="0">
                  <a:solidFill>
                    <a:srgbClr val="000000"/>
                  </a:solidFill>
                  <a:latin typeface="Georgia" panose="02040502050405020303" pitchFamily="18" charset="0"/>
                </a:rPr>
                <a:t> in the first half of 2023</a:t>
              </a:r>
              <a:endParaRPr sz="1200" b="1" dirty="0">
                <a:solidFill>
                  <a:schemeClr val="dk1"/>
                </a:solidFill>
              </a:endParaRPr>
            </a:p>
          </p:txBody>
        </p:sp>
        <p:sp>
          <p:nvSpPr>
            <p:cNvPr id="246" name="Google Shape;5924;p399">
              <a:extLst>
                <a:ext uri="{FF2B5EF4-FFF2-40B4-BE49-F238E27FC236}">
                  <a16:creationId xmlns:a16="http://schemas.microsoft.com/office/drawing/2014/main" id="{697A8978-B4B6-4441-B588-111A0F727EE6}"/>
                </a:ext>
              </a:extLst>
            </p:cNvPr>
            <p:cNvSpPr/>
            <p:nvPr/>
          </p:nvSpPr>
          <p:spPr>
            <a:xfrm>
              <a:off x="6668500" y="2472383"/>
              <a:ext cx="4410800" cy="6588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82867" tIns="60933" rIns="60933" bIns="60933" anchor="ctr" anchorCtr="0">
              <a:noAutofit/>
            </a:bodyPr>
            <a:lstStyle/>
            <a:p>
              <a:r>
                <a:rPr lang="en-US" sz="1200" dirty="0">
                  <a:solidFill>
                    <a:schemeClr val="dk1"/>
                  </a:solidFill>
                  <a:latin typeface="Georgia" panose="02040502050405020303" pitchFamily="18" charset="0"/>
                </a:rPr>
                <a:t>Series </a:t>
              </a:r>
              <a:r>
                <a:rPr lang="en-US" sz="1200" b="1" dirty="0">
                  <a:solidFill>
                    <a:schemeClr val="dk1"/>
                  </a:solidFill>
                  <a:latin typeface="Georgia" panose="02040502050405020303" pitchFamily="18" charset="0"/>
                </a:rPr>
                <a:t>of corporate misgovernance issues coming to spotlight </a:t>
              </a:r>
              <a:r>
                <a:rPr lang="en-US" sz="1200" dirty="0">
                  <a:solidFill>
                    <a:schemeClr val="dk1"/>
                  </a:solidFill>
                  <a:latin typeface="Georgia" panose="02040502050405020303" pitchFamily="18" charset="0"/>
                </a:rPr>
                <a:t>( fintech, automotive and supply chain startups to name a few)</a:t>
              </a:r>
            </a:p>
          </p:txBody>
        </p:sp>
        <p:sp>
          <p:nvSpPr>
            <p:cNvPr id="247" name="Google Shape;5925;p399">
              <a:extLst>
                <a:ext uri="{FF2B5EF4-FFF2-40B4-BE49-F238E27FC236}">
                  <a16:creationId xmlns:a16="http://schemas.microsoft.com/office/drawing/2014/main" id="{38B90EF9-068C-4F47-9461-172BA8A51804}"/>
                </a:ext>
              </a:extLst>
            </p:cNvPr>
            <p:cNvSpPr/>
            <p:nvPr/>
          </p:nvSpPr>
          <p:spPr>
            <a:xfrm>
              <a:off x="6668500" y="3474816"/>
              <a:ext cx="4410800" cy="6588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82867" tIns="60933" rIns="60933" bIns="60933" anchor="ctr" anchorCtr="0">
              <a:noAutofit/>
            </a:bodyPr>
            <a:lstStyle/>
            <a:p>
              <a:r>
                <a:rPr lang="en-US" sz="1200" b="1" i="0" dirty="0">
                  <a:solidFill>
                    <a:srgbClr val="000000"/>
                  </a:solidFill>
                  <a:effectLst/>
                  <a:latin typeface="Georgia" panose="02040502050405020303" pitchFamily="18" charset="0"/>
                </a:rPr>
                <a:t>Resignation of financial auditors </a:t>
              </a:r>
              <a:r>
                <a:rPr lang="en-US" sz="1200" b="0" i="0" dirty="0">
                  <a:solidFill>
                    <a:srgbClr val="000000"/>
                  </a:solidFill>
                  <a:effectLst/>
                  <a:latin typeface="Georgia" panose="02040502050405020303" pitchFamily="18" charset="0"/>
                </a:rPr>
                <a:t>citing concerns related to gross misreporting or irregularities in the financial statements</a:t>
              </a:r>
              <a:endParaRPr lang="en-US" sz="1200" b="1" dirty="0">
                <a:solidFill>
                  <a:schemeClr val="dk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48" name="Google Shape;5926;p399">
              <a:extLst>
                <a:ext uri="{FF2B5EF4-FFF2-40B4-BE49-F238E27FC236}">
                  <a16:creationId xmlns:a16="http://schemas.microsoft.com/office/drawing/2014/main" id="{05F063F7-5C60-4AAB-B010-DD542592C74B}"/>
                </a:ext>
              </a:extLst>
            </p:cNvPr>
            <p:cNvSpPr/>
            <p:nvPr/>
          </p:nvSpPr>
          <p:spPr>
            <a:xfrm>
              <a:off x="6668500" y="4477250"/>
              <a:ext cx="4410800" cy="6588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82867" tIns="60933" rIns="60933" bIns="60933" anchor="ctr" anchorCtr="0">
              <a:noAutofit/>
            </a:bodyPr>
            <a:lstStyle/>
            <a:p>
              <a:pPr marL="0" indent="0">
                <a:spcBef>
                  <a:spcPts val="600"/>
                </a:spcBef>
                <a:spcAft>
                  <a:spcPts val="600"/>
                </a:spcAft>
              </a:pPr>
              <a:r>
                <a:rPr lang="en-US" sz="1200" b="1" dirty="0">
                  <a:latin typeface="Georgia" panose="02040502050405020303" pitchFamily="18" charset="0"/>
                </a:rPr>
                <a:t>Significant downsizing</a:t>
              </a:r>
              <a:r>
                <a:rPr lang="en-US" sz="1200" dirty="0">
                  <a:latin typeface="Georgia" panose="02040502050405020303" pitchFamily="18" charset="0"/>
                </a:rPr>
                <a:t>, leading to </a:t>
              </a:r>
              <a:r>
                <a:rPr lang="en-US" sz="1200" b="1" dirty="0">
                  <a:latin typeface="Georgia" panose="02040502050405020303" pitchFamily="18" charset="0"/>
                </a:rPr>
                <a:t>laying off of 17,000 employees</a:t>
              </a:r>
              <a:r>
                <a:rPr lang="en-US" sz="1200" dirty="0">
                  <a:latin typeface="Georgia" panose="02040502050405020303" pitchFamily="18" charset="0"/>
                </a:rPr>
                <a:t> in the first half of 2023</a:t>
              </a:r>
            </a:p>
          </p:txBody>
        </p:sp>
        <p:sp>
          <p:nvSpPr>
            <p:cNvPr id="249" name="Google Shape;5927;p399">
              <a:extLst>
                <a:ext uri="{FF2B5EF4-FFF2-40B4-BE49-F238E27FC236}">
                  <a16:creationId xmlns:a16="http://schemas.microsoft.com/office/drawing/2014/main" id="{628FC8B4-C676-44C5-9EF2-1DC35F63843F}"/>
                </a:ext>
              </a:extLst>
            </p:cNvPr>
            <p:cNvSpPr/>
            <p:nvPr/>
          </p:nvSpPr>
          <p:spPr>
            <a:xfrm>
              <a:off x="6668500" y="5479683"/>
              <a:ext cx="4410800" cy="658800"/>
            </a:xfrm>
            <a:prstGeom prst="roundRect">
              <a:avLst>
                <a:gd name="adj" fmla="val 16667"/>
              </a:avLst>
            </a:prstGeom>
            <a:noFill/>
            <a:ln w="9525" cap="flat" cmpd="sng">
              <a:solidFill>
                <a:srgbClr val="7D7D7D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82867" tIns="60933" rIns="60933" bIns="60933" anchor="ctr" anchorCtr="0">
              <a:noAutofit/>
            </a:bodyPr>
            <a:lstStyle/>
            <a:p>
              <a:pPr marL="0" indent="0">
                <a:spcBef>
                  <a:spcPts val="600"/>
                </a:spcBef>
                <a:spcAft>
                  <a:spcPts val="600"/>
                </a:spcAft>
              </a:pPr>
              <a:r>
                <a:rPr lang="en-US" sz="1200" b="0" i="0" dirty="0">
                  <a:solidFill>
                    <a:srgbClr val="474747"/>
                  </a:solidFill>
                  <a:effectLst/>
                  <a:latin typeface="Georgia" panose="02040502050405020303" pitchFamily="18" charset="0"/>
                </a:rPr>
                <a:t>Limited access to capital inhibits </a:t>
              </a:r>
              <a:r>
                <a:rPr lang="en-US" sz="1200" b="1" i="0" dirty="0">
                  <a:solidFill>
                    <a:srgbClr val="474747"/>
                  </a:solidFill>
                  <a:effectLst/>
                  <a:latin typeface="Georgia" panose="02040502050405020303" pitchFamily="18" charset="0"/>
                </a:rPr>
                <a:t>their growth potential and hampers innovation</a:t>
              </a:r>
              <a:endParaRPr lang="en-US" sz="1200" dirty="0">
                <a:latin typeface="Georgia" panose="02040502050405020303" pitchFamily="18" charset="0"/>
              </a:endParaRPr>
            </a:p>
          </p:txBody>
        </p:sp>
        <p:grpSp>
          <p:nvGrpSpPr>
            <p:cNvPr id="250" name="Google Shape;5956;p399">
              <a:extLst>
                <a:ext uri="{FF2B5EF4-FFF2-40B4-BE49-F238E27FC236}">
                  <a16:creationId xmlns:a16="http://schemas.microsoft.com/office/drawing/2014/main" id="{4A7BDC6C-0B35-4A98-B81B-DF33CCEC2FE5}"/>
                </a:ext>
              </a:extLst>
            </p:cNvPr>
            <p:cNvGrpSpPr/>
            <p:nvPr/>
          </p:nvGrpSpPr>
          <p:grpSpPr>
            <a:xfrm>
              <a:off x="6488663" y="1732069"/>
              <a:ext cx="309369" cy="309369"/>
              <a:chOff x="6087765" y="1433950"/>
              <a:chExt cx="216000" cy="216000"/>
            </a:xfrm>
          </p:grpSpPr>
          <p:sp>
            <p:nvSpPr>
              <p:cNvPr id="251" name="Google Shape;5957;p399">
                <a:extLst>
                  <a:ext uri="{FF2B5EF4-FFF2-40B4-BE49-F238E27FC236}">
                    <a16:creationId xmlns:a16="http://schemas.microsoft.com/office/drawing/2014/main" id="{D44A1BA3-958C-4B85-B143-0309C6093DFB}"/>
                  </a:ext>
                </a:extLst>
              </p:cNvPr>
              <p:cNvSpPr/>
              <p:nvPr/>
            </p:nvSpPr>
            <p:spPr>
              <a:xfrm>
                <a:off x="6087765" y="1433950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grpSp>
            <p:nvGrpSpPr>
              <p:cNvPr id="252" name="Google Shape;5958;p399">
                <a:extLst>
                  <a:ext uri="{FF2B5EF4-FFF2-40B4-BE49-F238E27FC236}">
                    <a16:creationId xmlns:a16="http://schemas.microsoft.com/office/drawing/2014/main" id="{DD8FFC44-CD8A-4F91-8E49-F9406150C632}"/>
                  </a:ext>
                </a:extLst>
              </p:cNvPr>
              <p:cNvGrpSpPr/>
              <p:nvPr/>
            </p:nvGrpSpPr>
            <p:grpSpPr>
              <a:xfrm>
                <a:off x="6140950" y="1501089"/>
                <a:ext cx="109629" cy="81721"/>
                <a:chOff x="6000800" y="1748900"/>
                <a:chExt cx="123875" cy="98400"/>
              </a:xfrm>
            </p:grpSpPr>
            <p:sp>
              <p:nvSpPr>
                <p:cNvPr id="253" name="Google Shape;5959;p399">
                  <a:extLst>
                    <a:ext uri="{FF2B5EF4-FFF2-40B4-BE49-F238E27FC236}">
                      <a16:creationId xmlns:a16="http://schemas.microsoft.com/office/drawing/2014/main" id="{0CF928D2-7E82-4B2E-9189-004F139ACEB7}"/>
                    </a:ext>
                  </a:extLst>
                </p:cNvPr>
                <p:cNvSpPr/>
                <p:nvPr/>
              </p:nvSpPr>
              <p:spPr>
                <a:xfrm>
                  <a:off x="6050875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E0301E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  <p:sp>
              <p:nvSpPr>
                <p:cNvPr id="254" name="Google Shape;5960;p399">
                  <a:extLst>
                    <a:ext uri="{FF2B5EF4-FFF2-40B4-BE49-F238E27FC236}">
                      <a16:creationId xmlns:a16="http://schemas.microsoft.com/office/drawing/2014/main" id="{74F24EAE-562A-4089-AEAF-18630F4D92B5}"/>
                    </a:ext>
                  </a:extLst>
                </p:cNvPr>
                <p:cNvSpPr/>
                <p:nvPr/>
              </p:nvSpPr>
              <p:spPr>
                <a:xfrm>
                  <a:off x="6000800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7D7D7D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</p:grpSp>
        </p:grpSp>
        <p:grpSp>
          <p:nvGrpSpPr>
            <p:cNvPr id="255" name="Google Shape;5961;p399">
              <a:extLst>
                <a:ext uri="{FF2B5EF4-FFF2-40B4-BE49-F238E27FC236}">
                  <a16:creationId xmlns:a16="http://schemas.microsoft.com/office/drawing/2014/main" id="{B233A6D1-B814-4C67-AB06-0BD5ACA8D88B}"/>
                </a:ext>
              </a:extLst>
            </p:cNvPr>
            <p:cNvGrpSpPr/>
            <p:nvPr/>
          </p:nvGrpSpPr>
          <p:grpSpPr>
            <a:xfrm>
              <a:off x="6488663" y="2668641"/>
              <a:ext cx="309369" cy="309369"/>
              <a:chOff x="6087765" y="1433950"/>
              <a:chExt cx="216000" cy="216000"/>
            </a:xfrm>
          </p:grpSpPr>
          <p:sp>
            <p:nvSpPr>
              <p:cNvPr id="256" name="Google Shape;5962;p399">
                <a:extLst>
                  <a:ext uri="{FF2B5EF4-FFF2-40B4-BE49-F238E27FC236}">
                    <a16:creationId xmlns:a16="http://schemas.microsoft.com/office/drawing/2014/main" id="{D5E1D6B3-F845-4290-A9BD-8F54B616BC6D}"/>
                  </a:ext>
                </a:extLst>
              </p:cNvPr>
              <p:cNvSpPr/>
              <p:nvPr/>
            </p:nvSpPr>
            <p:spPr>
              <a:xfrm>
                <a:off x="6087765" y="1433950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grpSp>
            <p:nvGrpSpPr>
              <p:cNvPr id="257" name="Google Shape;5963;p399">
                <a:extLst>
                  <a:ext uri="{FF2B5EF4-FFF2-40B4-BE49-F238E27FC236}">
                    <a16:creationId xmlns:a16="http://schemas.microsoft.com/office/drawing/2014/main" id="{D75B4109-C723-48A1-BE42-05B72A589539}"/>
                  </a:ext>
                </a:extLst>
              </p:cNvPr>
              <p:cNvGrpSpPr/>
              <p:nvPr/>
            </p:nvGrpSpPr>
            <p:grpSpPr>
              <a:xfrm>
                <a:off x="6140950" y="1501089"/>
                <a:ext cx="109629" cy="81721"/>
                <a:chOff x="6000800" y="1748900"/>
                <a:chExt cx="123875" cy="98400"/>
              </a:xfrm>
            </p:grpSpPr>
            <p:sp>
              <p:nvSpPr>
                <p:cNvPr id="258" name="Google Shape;5964;p399">
                  <a:extLst>
                    <a:ext uri="{FF2B5EF4-FFF2-40B4-BE49-F238E27FC236}">
                      <a16:creationId xmlns:a16="http://schemas.microsoft.com/office/drawing/2014/main" id="{42DCC1C4-0DA8-4CD5-ADF5-704B6133285C}"/>
                    </a:ext>
                  </a:extLst>
                </p:cNvPr>
                <p:cNvSpPr/>
                <p:nvPr/>
              </p:nvSpPr>
              <p:spPr>
                <a:xfrm>
                  <a:off x="6050875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E0301E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  <p:sp>
              <p:nvSpPr>
                <p:cNvPr id="259" name="Google Shape;5965;p399">
                  <a:extLst>
                    <a:ext uri="{FF2B5EF4-FFF2-40B4-BE49-F238E27FC236}">
                      <a16:creationId xmlns:a16="http://schemas.microsoft.com/office/drawing/2014/main" id="{1A331582-69B5-4B69-AA94-455C166EE75E}"/>
                    </a:ext>
                  </a:extLst>
                </p:cNvPr>
                <p:cNvSpPr/>
                <p:nvPr/>
              </p:nvSpPr>
              <p:spPr>
                <a:xfrm>
                  <a:off x="6000800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7D7D7D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</p:grpSp>
        </p:grpSp>
        <p:grpSp>
          <p:nvGrpSpPr>
            <p:cNvPr id="260" name="Google Shape;5966;p399">
              <a:extLst>
                <a:ext uri="{FF2B5EF4-FFF2-40B4-BE49-F238E27FC236}">
                  <a16:creationId xmlns:a16="http://schemas.microsoft.com/office/drawing/2014/main" id="{7959D8EE-A2F8-4968-BD67-ED3EFAE3506C}"/>
                </a:ext>
              </a:extLst>
            </p:cNvPr>
            <p:cNvGrpSpPr/>
            <p:nvPr/>
          </p:nvGrpSpPr>
          <p:grpSpPr>
            <a:xfrm>
              <a:off x="6488663" y="3640712"/>
              <a:ext cx="309369" cy="309369"/>
              <a:chOff x="6087765" y="1433950"/>
              <a:chExt cx="216000" cy="216000"/>
            </a:xfrm>
          </p:grpSpPr>
          <p:sp>
            <p:nvSpPr>
              <p:cNvPr id="261" name="Google Shape;5967;p399">
                <a:extLst>
                  <a:ext uri="{FF2B5EF4-FFF2-40B4-BE49-F238E27FC236}">
                    <a16:creationId xmlns:a16="http://schemas.microsoft.com/office/drawing/2014/main" id="{7AB40498-55A6-453D-AFC4-17A66AB1D9AE}"/>
                  </a:ext>
                </a:extLst>
              </p:cNvPr>
              <p:cNvSpPr/>
              <p:nvPr/>
            </p:nvSpPr>
            <p:spPr>
              <a:xfrm>
                <a:off x="6087765" y="1433950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grpSp>
            <p:nvGrpSpPr>
              <p:cNvPr id="262" name="Google Shape;5968;p399">
                <a:extLst>
                  <a:ext uri="{FF2B5EF4-FFF2-40B4-BE49-F238E27FC236}">
                    <a16:creationId xmlns:a16="http://schemas.microsoft.com/office/drawing/2014/main" id="{7AE8AA79-0114-49F5-AA04-F3EBF46A8D46}"/>
                  </a:ext>
                </a:extLst>
              </p:cNvPr>
              <p:cNvGrpSpPr/>
              <p:nvPr/>
            </p:nvGrpSpPr>
            <p:grpSpPr>
              <a:xfrm>
                <a:off x="6140950" y="1501089"/>
                <a:ext cx="109629" cy="81721"/>
                <a:chOff x="6000800" y="1748900"/>
                <a:chExt cx="123875" cy="98400"/>
              </a:xfrm>
            </p:grpSpPr>
            <p:sp>
              <p:nvSpPr>
                <p:cNvPr id="263" name="Google Shape;5969;p399">
                  <a:extLst>
                    <a:ext uri="{FF2B5EF4-FFF2-40B4-BE49-F238E27FC236}">
                      <a16:creationId xmlns:a16="http://schemas.microsoft.com/office/drawing/2014/main" id="{BF169316-D862-4C6C-AF3B-9649327954E1}"/>
                    </a:ext>
                  </a:extLst>
                </p:cNvPr>
                <p:cNvSpPr/>
                <p:nvPr/>
              </p:nvSpPr>
              <p:spPr>
                <a:xfrm>
                  <a:off x="6050875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E0301E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  <p:sp>
              <p:nvSpPr>
                <p:cNvPr id="264" name="Google Shape;5970;p399">
                  <a:extLst>
                    <a:ext uri="{FF2B5EF4-FFF2-40B4-BE49-F238E27FC236}">
                      <a16:creationId xmlns:a16="http://schemas.microsoft.com/office/drawing/2014/main" id="{B88D6BDD-857E-4697-A258-BDA50021DE80}"/>
                    </a:ext>
                  </a:extLst>
                </p:cNvPr>
                <p:cNvSpPr/>
                <p:nvPr/>
              </p:nvSpPr>
              <p:spPr>
                <a:xfrm>
                  <a:off x="6000800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7D7D7D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</p:grpSp>
        </p:grpSp>
        <p:grpSp>
          <p:nvGrpSpPr>
            <p:cNvPr id="265" name="Google Shape;5971;p399">
              <a:extLst>
                <a:ext uri="{FF2B5EF4-FFF2-40B4-BE49-F238E27FC236}">
                  <a16:creationId xmlns:a16="http://schemas.microsoft.com/office/drawing/2014/main" id="{3E75DA3A-6F9D-4149-A851-701119A84EE1}"/>
                </a:ext>
              </a:extLst>
            </p:cNvPr>
            <p:cNvGrpSpPr/>
            <p:nvPr/>
          </p:nvGrpSpPr>
          <p:grpSpPr>
            <a:xfrm>
              <a:off x="6488663" y="4593808"/>
              <a:ext cx="309369" cy="309369"/>
              <a:chOff x="6087765" y="1433950"/>
              <a:chExt cx="216000" cy="216000"/>
            </a:xfrm>
          </p:grpSpPr>
          <p:sp>
            <p:nvSpPr>
              <p:cNvPr id="266" name="Google Shape;5972;p399">
                <a:extLst>
                  <a:ext uri="{FF2B5EF4-FFF2-40B4-BE49-F238E27FC236}">
                    <a16:creationId xmlns:a16="http://schemas.microsoft.com/office/drawing/2014/main" id="{F031E0FC-3F10-4602-8701-A5BD5C415190}"/>
                  </a:ext>
                </a:extLst>
              </p:cNvPr>
              <p:cNvSpPr/>
              <p:nvPr/>
            </p:nvSpPr>
            <p:spPr>
              <a:xfrm>
                <a:off x="6087765" y="1433950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grpSp>
            <p:nvGrpSpPr>
              <p:cNvPr id="267" name="Google Shape;5973;p399">
                <a:extLst>
                  <a:ext uri="{FF2B5EF4-FFF2-40B4-BE49-F238E27FC236}">
                    <a16:creationId xmlns:a16="http://schemas.microsoft.com/office/drawing/2014/main" id="{E822AAB2-01CD-4F87-ACBE-290F106A00CA}"/>
                  </a:ext>
                </a:extLst>
              </p:cNvPr>
              <p:cNvGrpSpPr/>
              <p:nvPr/>
            </p:nvGrpSpPr>
            <p:grpSpPr>
              <a:xfrm>
                <a:off x="6140950" y="1501089"/>
                <a:ext cx="109629" cy="81721"/>
                <a:chOff x="6000800" y="1748900"/>
                <a:chExt cx="123875" cy="98400"/>
              </a:xfrm>
            </p:grpSpPr>
            <p:sp>
              <p:nvSpPr>
                <p:cNvPr id="268" name="Google Shape;5974;p399">
                  <a:extLst>
                    <a:ext uri="{FF2B5EF4-FFF2-40B4-BE49-F238E27FC236}">
                      <a16:creationId xmlns:a16="http://schemas.microsoft.com/office/drawing/2014/main" id="{F99C3F3C-D77C-4345-9D78-B728083D472B}"/>
                    </a:ext>
                  </a:extLst>
                </p:cNvPr>
                <p:cNvSpPr/>
                <p:nvPr/>
              </p:nvSpPr>
              <p:spPr>
                <a:xfrm>
                  <a:off x="6050875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E0301E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  <p:sp>
              <p:nvSpPr>
                <p:cNvPr id="269" name="Google Shape;5975;p399">
                  <a:extLst>
                    <a:ext uri="{FF2B5EF4-FFF2-40B4-BE49-F238E27FC236}">
                      <a16:creationId xmlns:a16="http://schemas.microsoft.com/office/drawing/2014/main" id="{ABF0230F-799E-4C69-B06A-E79BD6263BE3}"/>
                    </a:ext>
                  </a:extLst>
                </p:cNvPr>
                <p:cNvSpPr/>
                <p:nvPr/>
              </p:nvSpPr>
              <p:spPr>
                <a:xfrm>
                  <a:off x="6000800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7D7D7D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</p:grpSp>
        </p:grpSp>
        <p:grpSp>
          <p:nvGrpSpPr>
            <p:cNvPr id="270" name="Google Shape;5976;p399">
              <a:extLst>
                <a:ext uri="{FF2B5EF4-FFF2-40B4-BE49-F238E27FC236}">
                  <a16:creationId xmlns:a16="http://schemas.microsoft.com/office/drawing/2014/main" id="{CF6792CD-F1DD-47F6-869C-4CC6C1D143FE}"/>
                </a:ext>
              </a:extLst>
            </p:cNvPr>
            <p:cNvGrpSpPr/>
            <p:nvPr/>
          </p:nvGrpSpPr>
          <p:grpSpPr>
            <a:xfrm>
              <a:off x="6488663" y="5653401"/>
              <a:ext cx="309369" cy="309369"/>
              <a:chOff x="6087765" y="1433950"/>
              <a:chExt cx="216000" cy="216000"/>
            </a:xfrm>
          </p:grpSpPr>
          <p:sp>
            <p:nvSpPr>
              <p:cNvPr id="271" name="Google Shape;5977;p399">
                <a:extLst>
                  <a:ext uri="{FF2B5EF4-FFF2-40B4-BE49-F238E27FC236}">
                    <a16:creationId xmlns:a16="http://schemas.microsoft.com/office/drawing/2014/main" id="{BB363EC8-53D3-497F-9C4D-252735782D79}"/>
                  </a:ext>
                </a:extLst>
              </p:cNvPr>
              <p:cNvSpPr/>
              <p:nvPr/>
            </p:nvSpPr>
            <p:spPr>
              <a:xfrm>
                <a:off x="6087765" y="1433950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grpSp>
            <p:nvGrpSpPr>
              <p:cNvPr id="272" name="Google Shape;5978;p399">
                <a:extLst>
                  <a:ext uri="{FF2B5EF4-FFF2-40B4-BE49-F238E27FC236}">
                    <a16:creationId xmlns:a16="http://schemas.microsoft.com/office/drawing/2014/main" id="{4E49F995-622E-4C28-A41E-BFBC0BF6EA15}"/>
                  </a:ext>
                </a:extLst>
              </p:cNvPr>
              <p:cNvGrpSpPr/>
              <p:nvPr/>
            </p:nvGrpSpPr>
            <p:grpSpPr>
              <a:xfrm>
                <a:off x="6140950" y="1501089"/>
                <a:ext cx="109629" cy="81721"/>
                <a:chOff x="6000800" y="1748900"/>
                <a:chExt cx="123875" cy="98400"/>
              </a:xfrm>
            </p:grpSpPr>
            <p:sp>
              <p:nvSpPr>
                <p:cNvPr id="273" name="Google Shape;5979;p399">
                  <a:extLst>
                    <a:ext uri="{FF2B5EF4-FFF2-40B4-BE49-F238E27FC236}">
                      <a16:creationId xmlns:a16="http://schemas.microsoft.com/office/drawing/2014/main" id="{B1D1D30A-F9BF-445F-ABEF-666F3AC75DD9}"/>
                    </a:ext>
                  </a:extLst>
                </p:cNvPr>
                <p:cNvSpPr/>
                <p:nvPr/>
              </p:nvSpPr>
              <p:spPr>
                <a:xfrm>
                  <a:off x="6050875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E0301E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  <p:sp>
              <p:nvSpPr>
                <p:cNvPr id="274" name="Google Shape;5980;p399">
                  <a:extLst>
                    <a:ext uri="{FF2B5EF4-FFF2-40B4-BE49-F238E27FC236}">
                      <a16:creationId xmlns:a16="http://schemas.microsoft.com/office/drawing/2014/main" id="{C7B08D9A-1E34-4E41-AE51-59DFF29958F7}"/>
                    </a:ext>
                  </a:extLst>
                </p:cNvPr>
                <p:cNvSpPr/>
                <p:nvPr/>
              </p:nvSpPr>
              <p:spPr>
                <a:xfrm>
                  <a:off x="6000800" y="1748900"/>
                  <a:ext cx="73800" cy="98400"/>
                </a:xfrm>
                <a:prstGeom prst="chevron">
                  <a:avLst>
                    <a:gd name="adj" fmla="val 50000"/>
                  </a:avLst>
                </a:prstGeom>
                <a:solidFill>
                  <a:srgbClr val="7D7D7D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endParaRPr sz="1867" dirty="0"/>
                </a:p>
              </p:txBody>
            </p:sp>
          </p:grpSp>
        </p:grpSp>
        <p:grpSp>
          <p:nvGrpSpPr>
            <p:cNvPr id="284" name="Google Shape;5991;p399">
              <a:extLst>
                <a:ext uri="{FF2B5EF4-FFF2-40B4-BE49-F238E27FC236}">
                  <a16:creationId xmlns:a16="http://schemas.microsoft.com/office/drawing/2014/main" id="{2DDA5DA2-E48C-40E5-96D7-7CA11E23271D}"/>
                </a:ext>
              </a:extLst>
            </p:cNvPr>
            <p:cNvGrpSpPr/>
            <p:nvPr/>
          </p:nvGrpSpPr>
          <p:grpSpPr>
            <a:xfrm>
              <a:off x="7165972" y="1493740"/>
              <a:ext cx="3415856" cy="162400"/>
              <a:chOff x="5922796" y="1368556"/>
              <a:chExt cx="2367300" cy="121800"/>
            </a:xfrm>
          </p:grpSpPr>
          <p:sp>
            <p:nvSpPr>
              <p:cNvPr id="285" name="Google Shape;5992;p399">
                <a:extLst>
                  <a:ext uri="{FF2B5EF4-FFF2-40B4-BE49-F238E27FC236}">
                    <a16:creationId xmlns:a16="http://schemas.microsoft.com/office/drawing/2014/main" id="{D6F61844-2718-48FA-9D2A-FD9900CD672A}"/>
                  </a:ext>
                </a:extLst>
              </p:cNvPr>
              <p:cNvSpPr/>
              <p:nvPr/>
            </p:nvSpPr>
            <p:spPr>
              <a:xfrm>
                <a:off x="5922796" y="1368556"/>
                <a:ext cx="2367300" cy="121800"/>
              </a:xfrm>
              <a:prstGeom prst="roundRect">
                <a:avLst>
                  <a:gd name="adj" fmla="val 50000"/>
                </a:avLst>
              </a:pr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algn="ctr">
                  <a:buSzPts val="1100"/>
                </a:pPr>
                <a:endParaRPr sz="1467" dirty="0"/>
              </a:p>
            </p:txBody>
          </p:sp>
          <p:sp>
            <p:nvSpPr>
              <p:cNvPr id="286" name="Google Shape;5993;p399">
                <a:extLst>
                  <a:ext uri="{FF2B5EF4-FFF2-40B4-BE49-F238E27FC236}">
                    <a16:creationId xmlns:a16="http://schemas.microsoft.com/office/drawing/2014/main" id="{D9BA61BA-0F6D-4BBE-A5CD-A0034ABA69F1}"/>
                  </a:ext>
                </a:extLst>
              </p:cNvPr>
              <p:cNvSpPr/>
              <p:nvPr/>
            </p:nvSpPr>
            <p:spPr>
              <a:xfrm>
                <a:off x="5947769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87" name="Google Shape;5994;p399">
                <a:extLst>
                  <a:ext uri="{FF2B5EF4-FFF2-40B4-BE49-F238E27FC236}">
                    <a16:creationId xmlns:a16="http://schemas.microsoft.com/office/drawing/2014/main" id="{72F13086-472E-4143-A58A-4C6E9017CEB1}"/>
                  </a:ext>
                </a:extLst>
              </p:cNvPr>
              <p:cNvSpPr/>
              <p:nvPr/>
            </p:nvSpPr>
            <p:spPr>
              <a:xfrm>
                <a:off x="8198333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  <p:grpSp>
          <p:nvGrpSpPr>
            <p:cNvPr id="288" name="Google Shape;5995;p399">
              <a:extLst>
                <a:ext uri="{FF2B5EF4-FFF2-40B4-BE49-F238E27FC236}">
                  <a16:creationId xmlns:a16="http://schemas.microsoft.com/office/drawing/2014/main" id="{13633385-BD99-456F-9666-A465AD40F284}"/>
                </a:ext>
              </a:extLst>
            </p:cNvPr>
            <p:cNvGrpSpPr/>
            <p:nvPr/>
          </p:nvGrpSpPr>
          <p:grpSpPr>
            <a:xfrm>
              <a:off x="7165972" y="2392194"/>
              <a:ext cx="3415856" cy="162400"/>
              <a:chOff x="5922796" y="1368556"/>
              <a:chExt cx="2367300" cy="121800"/>
            </a:xfrm>
          </p:grpSpPr>
          <p:sp>
            <p:nvSpPr>
              <p:cNvPr id="289" name="Google Shape;5996;p399">
                <a:extLst>
                  <a:ext uri="{FF2B5EF4-FFF2-40B4-BE49-F238E27FC236}">
                    <a16:creationId xmlns:a16="http://schemas.microsoft.com/office/drawing/2014/main" id="{9A2A978B-3CC7-47AF-9DBA-5475C7318D2C}"/>
                  </a:ext>
                </a:extLst>
              </p:cNvPr>
              <p:cNvSpPr/>
              <p:nvPr/>
            </p:nvSpPr>
            <p:spPr>
              <a:xfrm>
                <a:off x="5922796" y="1368556"/>
                <a:ext cx="2367300" cy="121800"/>
              </a:xfrm>
              <a:prstGeom prst="roundRect">
                <a:avLst>
                  <a:gd name="adj" fmla="val 50000"/>
                </a:avLst>
              </a:pr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algn="ctr">
                  <a:buSzPts val="1100"/>
                </a:pPr>
                <a:endParaRPr sz="1467" dirty="0"/>
              </a:p>
            </p:txBody>
          </p:sp>
          <p:sp>
            <p:nvSpPr>
              <p:cNvPr id="290" name="Google Shape;5997;p399">
                <a:extLst>
                  <a:ext uri="{FF2B5EF4-FFF2-40B4-BE49-F238E27FC236}">
                    <a16:creationId xmlns:a16="http://schemas.microsoft.com/office/drawing/2014/main" id="{7B31A25E-4900-47E3-9115-BB7D9747328D}"/>
                  </a:ext>
                </a:extLst>
              </p:cNvPr>
              <p:cNvSpPr/>
              <p:nvPr/>
            </p:nvSpPr>
            <p:spPr>
              <a:xfrm>
                <a:off x="5947769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91" name="Google Shape;5998;p399">
                <a:extLst>
                  <a:ext uri="{FF2B5EF4-FFF2-40B4-BE49-F238E27FC236}">
                    <a16:creationId xmlns:a16="http://schemas.microsoft.com/office/drawing/2014/main" id="{7366243F-5C27-4E1D-9268-B35734ABA4E0}"/>
                  </a:ext>
                </a:extLst>
              </p:cNvPr>
              <p:cNvSpPr/>
              <p:nvPr/>
            </p:nvSpPr>
            <p:spPr>
              <a:xfrm>
                <a:off x="8198333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  <p:grpSp>
          <p:nvGrpSpPr>
            <p:cNvPr id="292" name="Google Shape;5999;p399">
              <a:extLst>
                <a:ext uri="{FF2B5EF4-FFF2-40B4-BE49-F238E27FC236}">
                  <a16:creationId xmlns:a16="http://schemas.microsoft.com/office/drawing/2014/main" id="{EA91F25F-5496-4CDD-9AFC-F6A3C8FB6B51}"/>
                </a:ext>
              </a:extLst>
            </p:cNvPr>
            <p:cNvGrpSpPr/>
            <p:nvPr/>
          </p:nvGrpSpPr>
          <p:grpSpPr>
            <a:xfrm>
              <a:off x="7165972" y="3403363"/>
              <a:ext cx="3415856" cy="162400"/>
              <a:chOff x="5922796" y="1368556"/>
              <a:chExt cx="2367300" cy="121800"/>
            </a:xfrm>
          </p:grpSpPr>
          <p:sp>
            <p:nvSpPr>
              <p:cNvPr id="293" name="Google Shape;6000;p399">
                <a:extLst>
                  <a:ext uri="{FF2B5EF4-FFF2-40B4-BE49-F238E27FC236}">
                    <a16:creationId xmlns:a16="http://schemas.microsoft.com/office/drawing/2014/main" id="{E72D0955-EFCB-4843-8299-C028ADFC589A}"/>
                  </a:ext>
                </a:extLst>
              </p:cNvPr>
              <p:cNvSpPr/>
              <p:nvPr/>
            </p:nvSpPr>
            <p:spPr>
              <a:xfrm>
                <a:off x="5922796" y="1368556"/>
                <a:ext cx="2367300" cy="121800"/>
              </a:xfrm>
              <a:prstGeom prst="roundRect">
                <a:avLst>
                  <a:gd name="adj" fmla="val 50000"/>
                </a:avLst>
              </a:pr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algn="ctr">
                  <a:buSzPts val="1100"/>
                </a:pPr>
                <a:endParaRPr sz="1467" dirty="0"/>
              </a:p>
            </p:txBody>
          </p:sp>
          <p:sp>
            <p:nvSpPr>
              <p:cNvPr id="294" name="Google Shape;6001;p399">
                <a:extLst>
                  <a:ext uri="{FF2B5EF4-FFF2-40B4-BE49-F238E27FC236}">
                    <a16:creationId xmlns:a16="http://schemas.microsoft.com/office/drawing/2014/main" id="{E60468F3-546D-4E4D-B121-B0E954A40830}"/>
                  </a:ext>
                </a:extLst>
              </p:cNvPr>
              <p:cNvSpPr/>
              <p:nvPr/>
            </p:nvSpPr>
            <p:spPr>
              <a:xfrm>
                <a:off x="5947769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95" name="Google Shape;6002;p399">
                <a:extLst>
                  <a:ext uri="{FF2B5EF4-FFF2-40B4-BE49-F238E27FC236}">
                    <a16:creationId xmlns:a16="http://schemas.microsoft.com/office/drawing/2014/main" id="{45387F6E-A8EE-4E92-A7C4-9358FEEAAE55}"/>
                  </a:ext>
                </a:extLst>
              </p:cNvPr>
              <p:cNvSpPr/>
              <p:nvPr/>
            </p:nvSpPr>
            <p:spPr>
              <a:xfrm>
                <a:off x="8198333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  <p:grpSp>
          <p:nvGrpSpPr>
            <p:cNvPr id="296" name="Google Shape;6003;p399">
              <a:extLst>
                <a:ext uri="{FF2B5EF4-FFF2-40B4-BE49-F238E27FC236}">
                  <a16:creationId xmlns:a16="http://schemas.microsoft.com/office/drawing/2014/main" id="{B6D29427-A9ED-48DE-AD39-046EAFDAA946}"/>
                </a:ext>
              </a:extLst>
            </p:cNvPr>
            <p:cNvGrpSpPr/>
            <p:nvPr/>
          </p:nvGrpSpPr>
          <p:grpSpPr>
            <a:xfrm>
              <a:off x="7165972" y="4405802"/>
              <a:ext cx="3415856" cy="162400"/>
              <a:chOff x="5922796" y="1368556"/>
              <a:chExt cx="2367300" cy="121800"/>
            </a:xfrm>
          </p:grpSpPr>
          <p:sp>
            <p:nvSpPr>
              <p:cNvPr id="297" name="Google Shape;6004;p399">
                <a:extLst>
                  <a:ext uri="{FF2B5EF4-FFF2-40B4-BE49-F238E27FC236}">
                    <a16:creationId xmlns:a16="http://schemas.microsoft.com/office/drawing/2014/main" id="{4088C41D-68BC-462C-A6EE-7BAA01C863FD}"/>
                  </a:ext>
                </a:extLst>
              </p:cNvPr>
              <p:cNvSpPr/>
              <p:nvPr/>
            </p:nvSpPr>
            <p:spPr>
              <a:xfrm>
                <a:off x="5922796" y="1368556"/>
                <a:ext cx="2367300" cy="121800"/>
              </a:xfrm>
              <a:prstGeom prst="roundRect">
                <a:avLst>
                  <a:gd name="adj" fmla="val 50000"/>
                </a:avLst>
              </a:pr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algn="ctr">
                  <a:buSzPts val="1100"/>
                </a:pPr>
                <a:endParaRPr sz="1467" dirty="0"/>
              </a:p>
            </p:txBody>
          </p:sp>
          <p:sp>
            <p:nvSpPr>
              <p:cNvPr id="298" name="Google Shape;6005;p399">
                <a:extLst>
                  <a:ext uri="{FF2B5EF4-FFF2-40B4-BE49-F238E27FC236}">
                    <a16:creationId xmlns:a16="http://schemas.microsoft.com/office/drawing/2014/main" id="{4CFF08F8-D704-4580-BD45-3C9A35592C99}"/>
                  </a:ext>
                </a:extLst>
              </p:cNvPr>
              <p:cNvSpPr/>
              <p:nvPr/>
            </p:nvSpPr>
            <p:spPr>
              <a:xfrm>
                <a:off x="5947769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299" name="Google Shape;6006;p399">
                <a:extLst>
                  <a:ext uri="{FF2B5EF4-FFF2-40B4-BE49-F238E27FC236}">
                    <a16:creationId xmlns:a16="http://schemas.microsoft.com/office/drawing/2014/main" id="{5DC6443F-E731-4391-9E2C-91A8B0ECCA37}"/>
                  </a:ext>
                </a:extLst>
              </p:cNvPr>
              <p:cNvSpPr/>
              <p:nvPr/>
            </p:nvSpPr>
            <p:spPr>
              <a:xfrm>
                <a:off x="8198333" y="1399939"/>
                <a:ext cx="507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  <p:grpSp>
          <p:nvGrpSpPr>
            <p:cNvPr id="300" name="Google Shape;6007;p399">
              <a:extLst>
                <a:ext uri="{FF2B5EF4-FFF2-40B4-BE49-F238E27FC236}">
                  <a16:creationId xmlns:a16="http://schemas.microsoft.com/office/drawing/2014/main" id="{A1EAAB44-B085-43B2-8EF3-7C1D28A28E36}"/>
                </a:ext>
              </a:extLst>
            </p:cNvPr>
            <p:cNvGrpSpPr/>
            <p:nvPr/>
          </p:nvGrpSpPr>
          <p:grpSpPr>
            <a:xfrm>
              <a:off x="7165972" y="5408240"/>
              <a:ext cx="3415856" cy="162400"/>
              <a:chOff x="5922796" y="1368556"/>
              <a:chExt cx="2367300" cy="121800"/>
            </a:xfrm>
          </p:grpSpPr>
          <p:sp>
            <p:nvSpPr>
              <p:cNvPr id="301" name="Google Shape;6008;p399">
                <a:extLst>
                  <a:ext uri="{FF2B5EF4-FFF2-40B4-BE49-F238E27FC236}">
                    <a16:creationId xmlns:a16="http://schemas.microsoft.com/office/drawing/2014/main" id="{957869F7-1FE1-474D-864E-E0F8FB1C78BC}"/>
                  </a:ext>
                </a:extLst>
              </p:cNvPr>
              <p:cNvSpPr/>
              <p:nvPr/>
            </p:nvSpPr>
            <p:spPr>
              <a:xfrm>
                <a:off x="5922796" y="1368556"/>
                <a:ext cx="2367300" cy="121800"/>
              </a:xfrm>
              <a:prstGeom prst="roundRect">
                <a:avLst>
                  <a:gd name="adj" fmla="val 50000"/>
                </a:avLst>
              </a:prstGeom>
              <a:solidFill>
                <a:srgbClr val="E0301E"/>
              </a:solidFill>
              <a:ln>
                <a:noFill/>
              </a:ln>
            </p:spPr>
            <p:txBody>
              <a:bodyPr spcFirstLastPara="1" wrap="square" lIns="91433" tIns="91433" rIns="91433" bIns="91433" anchor="ctr" anchorCtr="0">
                <a:noAutofit/>
              </a:bodyPr>
              <a:lstStyle/>
              <a:p>
                <a:pPr algn="ctr">
                  <a:buSzPts val="1100"/>
                </a:pPr>
                <a:endParaRPr sz="1467" dirty="0"/>
              </a:p>
            </p:txBody>
          </p:sp>
          <p:sp>
            <p:nvSpPr>
              <p:cNvPr id="302" name="Google Shape;6009;p399">
                <a:extLst>
                  <a:ext uri="{FF2B5EF4-FFF2-40B4-BE49-F238E27FC236}">
                    <a16:creationId xmlns:a16="http://schemas.microsoft.com/office/drawing/2014/main" id="{7715B132-42D7-4425-8A92-64F051A73853}"/>
                  </a:ext>
                </a:extLst>
              </p:cNvPr>
              <p:cNvSpPr/>
              <p:nvPr/>
            </p:nvSpPr>
            <p:spPr>
              <a:xfrm>
                <a:off x="5947769" y="1399939"/>
                <a:ext cx="591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  <p:sp>
            <p:nvSpPr>
              <p:cNvPr id="303" name="Google Shape;6010;p399">
                <a:extLst>
                  <a:ext uri="{FF2B5EF4-FFF2-40B4-BE49-F238E27FC236}">
                    <a16:creationId xmlns:a16="http://schemas.microsoft.com/office/drawing/2014/main" id="{9AF7AB48-F9C8-4B1A-858B-94D335EE43DE}"/>
                  </a:ext>
                </a:extLst>
              </p:cNvPr>
              <p:cNvSpPr/>
              <p:nvPr/>
            </p:nvSpPr>
            <p:spPr>
              <a:xfrm>
                <a:off x="8198333" y="1399939"/>
                <a:ext cx="59100" cy="591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endParaRPr sz="1867" dirty="0"/>
              </a:p>
            </p:txBody>
          </p:sp>
        </p:grpSp>
      </p:grpSp>
      <p:grpSp>
        <p:nvGrpSpPr>
          <p:cNvPr id="306" name="Google Shape;10840;p472">
            <a:extLst>
              <a:ext uri="{FF2B5EF4-FFF2-40B4-BE49-F238E27FC236}">
                <a16:creationId xmlns:a16="http://schemas.microsoft.com/office/drawing/2014/main" id="{B1A98F85-F8D7-41F3-BBC6-7A69B47BE345}"/>
              </a:ext>
            </a:extLst>
          </p:cNvPr>
          <p:cNvGrpSpPr/>
          <p:nvPr/>
        </p:nvGrpSpPr>
        <p:grpSpPr>
          <a:xfrm>
            <a:off x="315619" y="1165396"/>
            <a:ext cx="3640800" cy="311400"/>
            <a:chOff x="228600" y="991100"/>
            <a:chExt cx="3640800" cy="311400"/>
          </a:xfrm>
        </p:grpSpPr>
        <p:sp>
          <p:nvSpPr>
            <p:cNvPr id="307" name="Google Shape;10841;p472">
              <a:extLst>
                <a:ext uri="{FF2B5EF4-FFF2-40B4-BE49-F238E27FC236}">
                  <a16:creationId xmlns:a16="http://schemas.microsoft.com/office/drawing/2014/main" id="{152FF5F1-33B3-4D07-A4CC-8EB8418C2C2C}"/>
                </a:ext>
              </a:extLst>
            </p:cNvPr>
            <p:cNvSpPr/>
            <p:nvPr/>
          </p:nvSpPr>
          <p:spPr>
            <a:xfrm>
              <a:off x="228600" y="991100"/>
              <a:ext cx="311400" cy="311400"/>
            </a:xfrm>
            <a:prstGeom prst="rect">
              <a:avLst/>
            </a:pr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08" name="Google Shape;10842;p472">
              <a:extLst>
                <a:ext uri="{FF2B5EF4-FFF2-40B4-BE49-F238E27FC236}">
                  <a16:creationId xmlns:a16="http://schemas.microsoft.com/office/drawing/2014/main" id="{90FD35A3-F647-47EE-B4FC-6CEDB6FA6F43}"/>
                </a:ext>
              </a:extLst>
            </p:cNvPr>
            <p:cNvSpPr/>
            <p:nvPr/>
          </p:nvSpPr>
          <p:spPr>
            <a:xfrm>
              <a:off x="636000" y="991100"/>
              <a:ext cx="3233400" cy="311400"/>
            </a:xfrm>
            <a:prstGeom prst="snip1Rect">
              <a:avLst>
                <a:gd name="adj" fmla="val 26341"/>
              </a:avLst>
            </a:prstGeom>
            <a:solidFill>
              <a:srgbClr val="DEDEDE"/>
            </a:solidFill>
            <a:ln>
              <a:noFill/>
            </a:ln>
          </p:spPr>
          <p:txBody>
            <a:bodyPr spcFirstLastPara="1" wrap="square" lIns="91425" tIns="45700" rIns="91425" bIns="91425" anchor="ctr" anchorCtr="0">
              <a:noAutofit/>
            </a:bodyPr>
            <a:lstStyle/>
            <a:p>
              <a:r>
                <a:rPr lang="en-US" sz="1600" b="1" dirty="0">
                  <a:latin typeface="Georgia" panose="02040502050405020303" pitchFamily="18" charset="0"/>
                </a:rPr>
                <a:t>Bright Spots</a:t>
              </a:r>
            </a:p>
          </p:txBody>
        </p:sp>
        <p:sp>
          <p:nvSpPr>
            <p:cNvPr id="309" name="Google Shape;10843;p472">
              <a:extLst>
                <a:ext uri="{FF2B5EF4-FFF2-40B4-BE49-F238E27FC236}">
                  <a16:creationId xmlns:a16="http://schemas.microsoft.com/office/drawing/2014/main" id="{F8478B48-BCE8-442D-AD9C-BACE9BB2C243}"/>
                </a:ext>
              </a:extLst>
            </p:cNvPr>
            <p:cNvSpPr/>
            <p:nvPr/>
          </p:nvSpPr>
          <p:spPr>
            <a:xfrm rot="-5400000">
              <a:off x="3722174" y="1155274"/>
              <a:ext cx="96300" cy="96300"/>
            </a:xfrm>
            <a:prstGeom prst="rtTriangle">
              <a:avLst/>
            </a:pr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10" name="Google Shape;10844;p472">
              <a:extLst>
                <a:ext uri="{FF2B5EF4-FFF2-40B4-BE49-F238E27FC236}">
                  <a16:creationId xmlns:a16="http://schemas.microsoft.com/office/drawing/2014/main" id="{174AB071-A8A5-4582-A2A3-D5F9A1EA83E8}"/>
                </a:ext>
              </a:extLst>
            </p:cNvPr>
            <p:cNvSpPr/>
            <p:nvPr/>
          </p:nvSpPr>
          <p:spPr>
            <a:xfrm>
              <a:off x="270011" y="1032500"/>
              <a:ext cx="228600" cy="228600"/>
            </a:xfrm>
            <a:custGeom>
              <a:avLst/>
              <a:gdLst/>
              <a:ahLst/>
              <a:cxnLst/>
              <a:rect l="l" t="t" r="r" b="b"/>
              <a:pathLst>
                <a:path w="396" h="396" extrusionOk="0">
                  <a:moveTo>
                    <a:pt x="0" y="0"/>
                  </a:moveTo>
                  <a:lnTo>
                    <a:pt x="0" y="396"/>
                  </a:lnTo>
                  <a:lnTo>
                    <a:pt x="396" y="396"/>
                  </a:lnTo>
                  <a:lnTo>
                    <a:pt x="396" y="0"/>
                  </a:lnTo>
                  <a:lnTo>
                    <a:pt x="0" y="0"/>
                  </a:lnTo>
                  <a:close/>
                  <a:moveTo>
                    <a:pt x="105" y="16"/>
                  </a:moveTo>
                  <a:lnTo>
                    <a:pt x="105" y="169"/>
                  </a:lnTo>
                  <a:lnTo>
                    <a:pt x="16" y="169"/>
                  </a:lnTo>
                  <a:lnTo>
                    <a:pt x="16" y="16"/>
                  </a:lnTo>
                  <a:lnTo>
                    <a:pt x="105" y="16"/>
                  </a:lnTo>
                  <a:close/>
                  <a:moveTo>
                    <a:pt x="16" y="296"/>
                  </a:moveTo>
                  <a:lnTo>
                    <a:pt x="29" y="296"/>
                  </a:lnTo>
                  <a:lnTo>
                    <a:pt x="29" y="278"/>
                  </a:lnTo>
                  <a:lnTo>
                    <a:pt x="16" y="278"/>
                  </a:lnTo>
                  <a:lnTo>
                    <a:pt x="16" y="186"/>
                  </a:lnTo>
                  <a:lnTo>
                    <a:pt x="121" y="186"/>
                  </a:lnTo>
                  <a:lnTo>
                    <a:pt x="121" y="16"/>
                  </a:lnTo>
                  <a:lnTo>
                    <a:pt x="379" y="16"/>
                  </a:lnTo>
                  <a:lnTo>
                    <a:pt x="379" y="210"/>
                  </a:lnTo>
                  <a:lnTo>
                    <a:pt x="279" y="210"/>
                  </a:lnTo>
                  <a:lnTo>
                    <a:pt x="279" y="379"/>
                  </a:lnTo>
                  <a:lnTo>
                    <a:pt x="16" y="379"/>
                  </a:lnTo>
                  <a:lnTo>
                    <a:pt x="16" y="296"/>
                  </a:lnTo>
                  <a:close/>
                  <a:moveTo>
                    <a:pt x="296" y="379"/>
                  </a:moveTo>
                  <a:lnTo>
                    <a:pt x="296" y="227"/>
                  </a:lnTo>
                  <a:lnTo>
                    <a:pt x="379" y="227"/>
                  </a:lnTo>
                  <a:lnTo>
                    <a:pt x="379" y="379"/>
                  </a:lnTo>
                  <a:lnTo>
                    <a:pt x="296" y="379"/>
                  </a:lnTo>
                  <a:close/>
                  <a:moveTo>
                    <a:pt x="79" y="278"/>
                  </a:moveTo>
                  <a:lnTo>
                    <a:pt x="96" y="278"/>
                  </a:lnTo>
                  <a:lnTo>
                    <a:pt x="96" y="296"/>
                  </a:lnTo>
                  <a:lnTo>
                    <a:pt x="79" y="296"/>
                  </a:lnTo>
                  <a:lnTo>
                    <a:pt x="79" y="278"/>
                  </a:lnTo>
                  <a:close/>
                  <a:moveTo>
                    <a:pt x="113" y="278"/>
                  </a:moveTo>
                  <a:lnTo>
                    <a:pt x="129" y="278"/>
                  </a:lnTo>
                  <a:lnTo>
                    <a:pt x="129" y="296"/>
                  </a:lnTo>
                  <a:lnTo>
                    <a:pt x="113" y="296"/>
                  </a:lnTo>
                  <a:lnTo>
                    <a:pt x="113" y="278"/>
                  </a:lnTo>
                  <a:close/>
                  <a:moveTo>
                    <a:pt x="146" y="278"/>
                  </a:moveTo>
                  <a:lnTo>
                    <a:pt x="164" y="278"/>
                  </a:lnTo>
                  <a:lnTo>
                    <a:pt x="164" y="296"/>
                  </a:lnTo>
                  <a:lnTo>
                    <a:pt x="146" y="296"/>
                  </a:lnTo>
                  <a:lnTo>
                    <a:pt x="146" y="278"/>
                  </a:lnTo>
                  <a:close/>
                  <a:moveTo>
                    <a:pt x="46" y="278"/>
                  </a:moveTo>
                  <a:lnTo>
                    <a:pt x="62" y="278"/>
                  </a:lnTo>
                  <a:lnTo>
                    <a:pt x="62" y="296"/>
                  </a:lnTo>
                  <a:lnTo>
                    <a:pt x="46" y="296"/>
                  </a:lnTo>
                  <a:lnTo>
                    <a:pt x="46" y="278"/>
                  </a:lnTo>
                  <a:close/>
                  <a:moveTo>
                    <a:pt x="289" y="117"/>
                  </a:moveTo>
                  <a:lnTo>
                    <a:pt x="272" y="117"/>
                  </a:lnTo>
                  <a:lnTo>
                    <a:pt x="272" y="100"/>
                  </a:lnTo>
                  <a:lnTo>
                    <a:pt x="289" y="100"/>
                  </a:lnTo>
                  <a:lnTo>
                    <a:pt x="289" y="117"/>
                  </a:lnTo>
                  <a:close/>
                  <a:moveTo>
                    <a:pt x="191" y="155"/>
                  </a:moveTo>
                  <a:lnTo>
                    <a:pt x="208" y="155"/>
                  </a:lnTo>
                  <a:lnTo>
                    <a:pt x="208" y="171"/>
                  </a:lnTo>
                  <a:lnTo>
                    <a:pt x="191" y="171"/>
                  </a:lnTo>
                  <a:lnTo>
                    <a:pt x="191" y="155"/>
                  </a:lnTo>
                  <a:close/>
                  <a:moveTo>
                    <a:pt x="191" y="120"/>
                  </a:moveTo>
                  <a:lnTo>
                    <a:pt x="208" y="120"/>
                  </a:lnTo>
                  <a:lnTo>
                    <a:pt x="208" y="138"/>
                  </a:lnTo>
                  <a:lnTo>
                    <a:pt x="191" y="138"/>
                  </a:lnTo>
                  <a:lnTo>
                    <a:pt x="191" y="120"/>
                  </a:lnTo>
                  <a:close/>
                  <a:moveTo>
                    <a:pt x="205" y="100"/>
                  </a:moveTo>
                  <a:lnTo>
                    <a:pt x="222" y="100"/>
                  </a:lnTo>
                  <a:lnTo>
                    <a:pt x="222" y="117"/>
                  </a:lnTo>
                  <a:lnTo>
                    <a:pt x="205" y="117"/>
                  </a:lnTo>
                  <a:lnTo>
                    <a:pt x="205" y="100"/>
                  </a:lnTo>
                  <a:close/>
                  <a:moveTo>
                    <a:pt x="181" y="278"/>
                  </a:moveTo>
                  <a:lnTo>
                    <a:pt x="197" y="278"/>
                  </a:lnTo>
                  <a:lnTo>
                    <a:pt x="197" y="296"/>
                  </a:lnTo>
                  <a:lnTo>
                    <a:pt x="181" y="296"/>
                  </a:lnTo>
                  <a:lnTo>
                    <a:pt x="181" y="278"/>
                  </a:lnTo>
                  <a:close/>
                  <a:moveTo>
                    <a:pt x="238" y="100"/>
                  </a:moveTo>
                  <a:lnTo>
                    <a:pt x="255" y="100"/>
                  </a:lnTo>
                  <a:lnTo>
                    <a:pt x="255" y="117"/>
                  </a:lnTo>
                  <a:lnTo>
                    <a:pt x="238" y="117"/>
                  </a:lnTo>
                  <a:lnTo>
                    <a:pt x="238" y="100"/>
                  </a:lnTo>
                  <a:close/>
                  <a:moveTo>
                    <a:pt x="191" y="222"/>
                  </a:moveTo>
                  <a:lnTo>
                    <a:pt x="208" y="222"/>
                  </a:lnTo>
                  <a:lnTo>
                    <a:pt x="208" y="238"/>
                  </a:lnTo>
                  <a:lnTo>
                    <a:pt x="191" y="238"/>
                  </a:lnTo>
                  <a:lnTo>
                    <a:pt x="191" y="222"/>
                  </a:lnTo>
                  <a:close/>
                  <a:moveTo>
                    <a:pt x="191" y="188"/>
                  </a:moveTo>
                  <a:lnTo>
                    <a:pt x="208" y="188"/>
                  </a:lnTo>
                  <a:lnTo>
                    <a:pt x="208" y="205"/>
                  </a:lnTo>
                  <a:lnTo>
                    <a:pt x="191" y="205"/>
                  </a:lnTo>
                  <a:lnTo>
                    <a:pt x="191" y="188"/>
                  </a:lnTo>
                  <a:close/>
                  <a:moveTo>
                    <a:pt x="191" y="255"/>
                  </a:moveTo>
                  <a:lnTo>
                    <a:pt x="208" y="255"/>
                  </a:lnTo>
                  <a:lnTo>
                    <a:pt x="208" y="273"/>
                  </a:lnTo>
                  <a:lnTo>
                    <a:pt x="191" y="273"/>
                  </a:lnTo>
                  <a:lnTo>
                    <a:pt x="191" y="255"/>
                  </a:lnTo>
                  <a:close/>
                  <a:moveTo>
                    <a:pt x="307" y="152"/>
                  </a:moveTo>
                  <a:lnTo>
                    <a:pt x="348" y="110"/>
                  </a:lnTo>
                  <a:lnTo>
                    <a:pt x="307" y="69"/>
                  </a:lnTo>
                  <a:lnTo>
                    <a:pt x="295" y="82"/>
                  </a:lnTo>
                  <a:lnTo>
                    <a:pt x="315" y="100"/>
                  </a:lnTo>
                  <a:lnTo>
                    <a:pt x="305" y="100"/>
                  </a:lnTo>
                  <a:lnTo>
                    <a:pt x="305" y="117"/>
                  </a:lnTo>
                  <a:lnTo>
                    <a:pt x="317" y="117"/>
                  </a:lnTo>
                  <a:lnTo>
                    <a:pt x="294" y="140"/>
                  </a:lnTo>
                  <a:lnTo>
                    <a:pt x="307" y="152"/>
                  </a:lnTo>
                  <a:close/>
                  <a:moveTo>
                    <a:pt x="323" y="109"/>
                  </a:moveTo>
                  <a:lnTo>
                    <a:pt x="325" y="110"/>
                  </a:lnTo>
                  <a:lnTo>
                    <a:pt x="323" y="111"/>
                  </a:lnTo>
                  <a:lnTo>
                    <a:pt x="323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11" name="Google Shape;10840;p472">
            <a:extLst>
              <a:ext uri="{FF2B5EF4-FFF2-40B4-BE49-F238E27FC236}">
                <a16:creationId xmlns:a16="http://schemas.microsoft.com/office/drawing/2014/main" id="{D558E11F-30FA-4D2E-AEEF-587E7B2868B5}"/>
              </a:ext>
            </a:extLst>
          </p:cNvPr>
          <p:cNvGrpSpPr/>
          <p:nvPr/>
        </p:nvGrpSpPr>
        <p:grpSpPr>
          <a:xfrm>
            <a:off x="6067156" y="1197851"/>
            <a:ext cx="3640800" cy="311400"/>
            <a:chOff x="228600" y="991100"/>
            <a:chExt cx="3640800" cy="311400"/>
          </a:xfrm>
        </p:grpSpPr>
        <p:sp>
          <p:nvSpPr>
            <p:cNvPr id="312" name="Google Shape;10841;p472">
              <a:extLst>
                <a:ext uri="{FF2B5EF4-FFF2-40B4-BE49-F238E27FC236}">
                  <a16:creationId xmlns:a16="http://schemas.microsoft.com/office/drawing/2014/main" id="{6DAEB13D-7F09-4300-88BD-6BF7FF6FC797}"/>
                </a:ext>
              </a:extLst>
            </p:cNvPr>
            <p:cNvSpPr/>
            <p:nvPr/>
          </p:nvSpPr>
          <p:spPr>
            <a:xfrm>
              <a:off x="228600" y="991100"/>
              <a:ext cx="311400" cy="311400"/>
            </a:xfrm>
            <a:prstGeom prst="rect">
              <a:avLst/>
            </a:pr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13" name="Google Shape;10842;p472">
              <a:extLst>
                <a:ext uri="{FF2B5EF4-FFF2-40B4-BE49-F238E27FC236}">
                  <a16:creationId xmlns:a16="http://schemas.microsoft.com/office/drawing/2014/main" id="{BF774611-0DFB-404B-B09D-655713BB856D}"/>
                </a:ext>
              </a:extLst>
            </p:cNvPr>
            <p:cNvSpPr/>
            <p:nvPr/>
          </p:nvSpPr>
          <p:spPr>
            <a:xfrm>
              <a:off x="636000" y="991100"/>
              <a:ext cx="3233400" cy="311400"/>
            </a:xfrm>
            <a:prstGeom prst="snip1Rect">
              <a:avLst>
                <a:gd name="adj" fmla="val 26341"/>
              </a:avLst>
            </a:prstGeom>
            <a:solidFill>
              <a:srgbClr val="DEDEDE"/>
            </a:solidFill>
            <a:ln>
              <a:noFill/>
            </a:ln>
          </p:spPr>
          <p:txBody>
            <a:bodyPr spcFirstLastPara="1" wrap="square" lIns="91425" tIns="45700" rIns="91425" bIns="91425" anchor="ctr" anchorCtr="0">
              <a:noAutofit/>
            </a:bodyPr>
            <a:lstStyle/>
            <a:p>
              <a:r>
                <a:rPr lang="en-US" sz="1600" b="1" dirty="0">
                  <a:solidFill>
                    <a:schemeClr val="dk1"/>
                  </a:solidFill>
                  <a:latin typeface="Georgia" panose="02040502050405020303" pitchFamily="18" charset="0"/>
                </a:rPr>
                <a:t>Dim Spots</a:t>
              </a:r>
            </a:p>
          </p:txBody>
        </p:sp>
        <p:sp>
          <p:nvSpPr>
            <p:cNvPr id="314" name="Google Shape;10843;p472">
              <a:extLst>
                <a:ext uri="{FF2B5EF4-FFF2-40B4-BE49-F238E27FC236}">
                  <a16:creationId xmlns:a16="http://schemas.microsoft.com/office/drawing/2014/main" id="{0EDC42E3-947F-4E1C-8BFB-C1F589D21BA0}"/>
                </a:ext>
              </a:extLst>
            </p:cNvPr>
            <p:cNvSpPr/>
            <p:nvPr/>
          </p:nvSpPr>
          <p:spPr>
            <a:xfrm rot="-5400000">
              <a:off x="3722174" y="1155274"/>
              <a:ext cx="96300" cy="96300"/>
            </a:xfrm>
            <a:prstGeom prst="rtTriangle">
              <a:avLst/>
            </a:pr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15" name="Google Shape;10844;p472">
              <a:extLst>
                <a:ext uri="{FF2B5EF4-FFF2-40B4-BE49-F238E27FC236}">
                  <a16:creationId xmlns:a16="http://schemas.microsoft.com/office/drawing/2014/main" id="{932F1570-A048-409A-AE4E-6A77A65A0BB4}"/>
                </a:ext>
              </a:extLst>
            </p:cNvPr>
            <p:cNvSpPr/>
            <p:nvPr/>
          </p:nvSpPr>
          <p:spPr>
            <a:xfrm>
              <a:off x="270011" y="1032500"/>
              <a:ext cx="228600" cy="228600"/>
            </a:xfrm>
            <a:custGeom>
              <a:avLst/>
              <a:gdLst/>
              <a:ahLst/>
              <a:cxnLst/>
              <a:rect l="l" t="t" r="r" b="b"/>
              <a:pathLst>
                <a:path w="396" h="396" extrusionOk="0">
                  <a:moveTo>
                    <a:pt x="0" y="0"/>
                  </a:moveTo>
                  <a:lnTo>
                    <a:pt x="0" y="396"/>
                  </a:lnTo>
                  <a:lnTo>
                    <a:pt x="396" y="396"/>
                  </a:lnTo>
                  <a:lnTo>
                    <a:pt x="396" y="0"/>
                  </a:lnTo>
                  <a:lnTo>
                    <a:pt x="0" y="0"/>
                  </a:lnTo>
                  <a:close/>
                  <a:moveTo>
                    <a:pt x="105" y="16"/>
                  </a:moveTo>
                  <a:lnTo>
                    <a:pt x="105" y="169"/>
                  </a:lnTo>
                  <a:lnTo>
                    <a:pt x="16" y="169"/>
                  </a:lnTo>
                  <a:lnTo>
                    <a:pt x="16" y="16"/>
                  </a:lnTo>
                  <a:lnTo>
                    <a:pt x="105" y="16"/>
                  </a:lnTo>
                  <a:close/>
                  <a:moveTo>
                    <a:pt x="16" y="296"/>
                  </a:moveTo>
                  <a:lnTo>
                    <a:pt x="29" y="296"/>
                  </a:lnTo>
                  <a:lnTo>
                    <a:pt x="29" y="278"/>
                  </a:lnTo>
                  <a:lnTo>
                    <a:pt x="16" y="278"/>
                  </a:lnTo>
                  <a:lnTo>
                    <a:pt x="16" y="186"/>
                  </a:lnTo>
                  <a:lnTo>
                    <a:pt x="121" y="186"/>
                  </a:lnTo>
                  <a:lnTo>
                    <a:pt x="121" y="16"/>
                  </a:lnTo>
                  <a:lnTo>
                    <a:pt x="379" y="16"/>
                  </a:lnTo>
                  <a:lnTo>
                    <a:pt x="379" y="210"/>
                  </a:lnTo>
                  <a:lnTo>
                    <a:pt x="279" y="210"/>
                  </a:lnTo>
                  <a:lnTo>
                    <a:pt x="279" y="379"/>
                  </a:lnTo>
                  <a:lnTo>
                    <a:pt x="16" y="379"/>
                  </a:lnTo>
                  <a:lnTo>
                    <a:pt x="16" y="296"/>
                  </a:lnTo>
                  <a:close/>
                  <a:moveTo>
                    <a:pt x="296" y="379"/>
                  </a:moveTo>
                  <a:lnTo>
                    <a:pt x="296" y="227"/>
                  </a:lnTo>
                  <a:lnTo>
                    <a:pt x="379" y="227"/>
                  </a:lnTo>
                  <a:lnTo>
                    <a:pt x="379" y="379"/>
                  </a:lnTo>
                  <a:lnTo>
                    <a:pt x="296" y="379"/>
                  </a:lnTo>
                  <a:close/>
                  <a:moveTo>
                    <a:pt x="79" y="278"/>
                  </a:moveTo>
                  <a:lnTo>
                    <a:pt x="96" y="278"/>
                  </a:lnTo>
                  <a:lnTo>
                    <a:pt x="96" y="296"/>
                  </a:lnTo>
                  <a:lnTo>
                    <a:pt x="79" y="296"/>
                  </a:lnTo>
                  <a:lnTo>
                    <a:pt x="79" y="278"/>
                  </a:lnTo>
                  <a:close/>
                  <a:moveTo>
                    <a:pt x="113" y="278"/>
                  </a:moveTo>
                  <a:lnTo>
                    <a:pt x="129" y="278"/>
                  </a:lnTo>
                  <a:lnTo>
                    <a:pt x="129" y="296"/>
                  </a:lnTo>
                  <a:lnTo>
                    <a:pt x="113" y="296"/>
                  </a:lnTo>
                  <a:lnTo>
                    <a:pt x="113" y="278"/>
                  </a:lnTo>
                  <a:close/>
                  <a:moveTo>
                    <a:pt x="146" y="278"/>
                  </a:moveTo>
                  <a:lnTo>
                    <a:pt x="164" y="278"/>
                  </a:lnTo>
                  <a:lnTo>
                    <a:pt x="164" y="296"/>
                  </a:lnTo>
                  <a:lnTo>
                    <a:pt x="146" y="296"/>
                  </a:lnTo>
                  <a:lnTo>
                    <a:pt x="146" y="278"/>
                  </a:lnTo>
                  <a:close/>
                  <a:moveTo>
                    <a:pt x="46" y="278"/>
                  </a:moveTo>
                  <a:lnTo>
                    <a:pt x="62" y="278"/>
                  </a:lnTo>
                  <a:lnTo>
                    <a:pt x="62" y="296"/>
                  </a:lnTo>
                  <a:lnTo>
                    <a:pt x="46" y="296"/>
                  </a:lnTo>
                  <a:lnTo>
                    <a:pt x="46" y="278"/>
                  </a:lnTo>
                  <a:close/>
                  <a:moveTo>
                    <a:pt x="289" y="117"/>
                  </a:moveTo>
                  <a:lnTo>
                    <a:pt x="272" y="117"/>
                  </a:lnTo>
                  <a:lnTo>
                    <a:pt x="272" y="100"/>
                  </a:lnTo>
                  <a:lnTo>
                    <a:pt x="289" y="100"/>
                  </a:lnTo>
                  <a:lnTo>
                    <a:pt x="289" y="117"/>
                  </a:lnTo>
                  <a:close/>
                  <a:moveTo>
                    <a:pt x="191" y="155"/>
                  </a:moveTo>
                  <a:lnTo>
                    <a:pt x="208" y="155"/>
                  </a:lnTo>
                  <a:lnTo>
                    <a:pt x="208" y="171"/>
                  </a:lnTo>
                  <a:lnTo>
                    <a:pt x="191" y="171"/>
                  </a:lnTo>
                  <a:lnTo>
                    <a:pt x="191" y="155"/>
                  </a:lnTo>
                  <a:close/>
                  <a:moveTo>
                    <a:pt x="191" y="120"/>
                  </a:moveTo>
                  <a:lnTo>
                    <a:pt x="208" y="120"/>
                  </a:lnTo>
                  <a:lnTo>
                    <a:pt x="208" y="138"/>
                  </a:lnTo>
                  <a:lnTo>
                    <a:pt x="191" y="138"/>
                  </a:lnTo>
                  <a:lnTo>
                    <a:pt x="191" y="120"/>
                  </a:lnTo>
                  <a:close/>
                  <a:moveTo>
                    <a:pt x="205" y="100"/>
                  </a:moveTo>
                  <a:lnTo>
                    <a:pt x="222" y="100"/>
                  </a:lnTo>
                  <a:lnTo>
                    <a:pt x="222" y="117"/>
                  </a:lnTo>
                  <a:lnTo>
                    <a:pt x="205" y="117"/>
                  </a:lnTo>
                  <a:lnTo>
                    <a:pt x="205" y="100"/>
                  </a:lnTo>
                  <a:close/>
                  <a:moveTo>
                    <a:pt x="181" y="278"/>
                  </a:moveTo>
                  <a:lnTo>
                    <a:pt x="197" y="278"/>
                  </a:lnTo>
                  <a:lnTo>
                    <a:pt x="197" y="296"/>
                  </a:lnTo>
                  <a:lnTo>
                    <a:pt x="181" y="296"/>
                  </a:lnTo>
                  <a:lnTo>
                    <a:pt x="181" y="278"/>
                  </a:lnTo>
                  <a:close/>
                  <a:moveTo>
                    <a:pt x="238" y="100"/>
                  </a:moveTo>
                  <a:lnTo>
                    <a:pt x="255" y="100"/>
                  </a:lnTo>
                  <a:lnTo>
                    <a:pt x="255" y="117"/>
                  </a:lnTo>
                  <a:lnTo>
                    <a:pt x="238" y="117"/>
                  </a:lnTo>
                  <a:lnTo>
                    <a:pt x="238" y="100"/>
                  </a:lnTo>
                  <a:close/>
                  <a:moveTo>
                    <a:pt x="191" y="222"/>
                  </a:moveTo>
                  <a:lnTo>
                    <a:pt x="208" y="222"/>
                  </a:lnTo>
                  <a:lnTo>
                    <a:pt x="208" y="238"/>
                  </a:lnTo>
                  <a:lnTo>
                    <a:pt x="191" y="238"/>
                  </a:lnTo>
                  <a:lnTo>
                    <a:pt x="191" y="222"/>
                  </a:lnTo>
                  <a:close/>
                  <a:moveTo>
                    <a:pt x="191" y="188"/>
                  </a:moveTo>
                  <a:lnTo>
                    <a:pt x="208" y="188"/>
                  </a:lnTo>
                  <a:lnTo>
                    <a:pt x="208" y="205"/>
                  </a:lnTo>
                  <a:lnTo>
                    <a:pt x="191" y="205"/>
                  </a:lnTo>
                  <a:lnTo>
                    <a:pt x="191" y="188"/>
                  </a:lnTo>
                  <a:close/>
                  <a:moveTo>
                    <a:pt x="191" y="255"/>
                  </a:moveTo>
                  <a:lnTo>
                    <a:pt x="208" y="255"/>
                  </a:lnTo>
                  <a:lnTo>
                    <a:pt x="208" y="273"/>
                  </a:lnTo>
                  <a:lnTo>
                    <a:pt x="191" y="273"/>
                  </a:lnTo>
                  <a:lnTo>
                    <a:pt x="191" y="255"/>
                  </a:lnTo>
                  <a:close/>
                  <a:moveTo>
                    <a:pt x="307" y="152"/>
                  </a:moveTo>
                  <a:lnTo>
                    <a:pt x="348" y="110"/>
                  </a:lnTo>
                  <a:lnTo>
                    <a:pt x="307" y="69"/>
                  </a:lnTo>
                  <a:lnTo>
                    <a:pt x="295" y="82"/>
                  </a:lnTo>
                  <a:lnTo>
                    <a:pt x="315" y="100"/>
                  </a:lnTo>
                  <a:lnTo>
                    <a:pt x="305" y="100"/>
                  </a:lnTo>
                  <a:lnTo>
                    <a:pt x="305" y="117"/>
                  </a:lnTo>
                  <a:lnTo>
                    <a:pt x="317" y="117"/>
                  </a:lnTo>
                  <a:lnTo>
                    <a:pt x="294" y="140"/>
                  </a:lnTo>
                  <a:lnTo>
                    <a:pt x="307" y="152"/>
                  </a:lnTo>
                  <a:close/>
                  <a:moveTo>
                    <a:pt x="323" y="109"/>
                  </a:moveTo>
                  <a:lnTo>
                    <a:pt x="325" y="110"/>
                  </a:lnTo>
                  <a:lnTo>
                    <a:pt x="323" y="111"/>
                  </a:lnTo>
                  <a:lnTo>
                    <a:pt x="323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22aaf9e968d_4_293"/>
          <p:cNvSpPr txBox="1">
            <a:spLocks noGrp="1"/>
          </p:cNvSpPr>
          <p:nvPr>
            <p:ph type="title"/>
          </p:nvPr>
        </p:nvSpPr>
        <p:spPr>
          <a:xfrm>
            <a:off x="442950" y="388636"/>
            <a:ext cx="11306100" cy="49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SzPts val="1100"/>
            </a:pPr>
            <a:r>
              <a:rPr lang="en-IN" sz="2400" dirty="0"/>
              <a:t>Ethical dilemma for founders</a:t>
            </a:r>
            <a:endParaRPr sz="2400" dirty="0"/>
          </a:p>
        </p:txBody>
      </p:sp>
      <p:sp>
        <p:nvSpPr>
          <p:cNvPr id="74" name="Google Shape;864;p5">
            <a:extLst>
              <a:ext uri="{FF2B5EF4-FFF2-40B4-BE49-F238E27FC236}">
                <a16:creationId xmlns:a16="http://schemas.microsoft.com/office/drawing/2014/main" id="{11DB0677-E75E-4328-93FB-892A9A29425F}"/>
              </a:ext>
            </a:extLst>
          </p:cNvPr>
          <p:cNvSpPr/>
          <p:nvPr/>
        </p:nvSpPr>
        <p:spPr>
          <a:xfrm>
            <a:off x="0" y="878955"/>
            <a:ext cx="12192000" cy="15966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865;p5">
            <a:extLst>
              <a:ext uri="{FF2B5EF4-FFF2-40B4-BE49-F238E27FC236}">
                <a16:creationId xmlns:a16="http://schemas.microsoft.com/office/drawing/2014/main" id="{D84338B4-F3DD-49B1-939C-F0D677B7366D}"/>
              </a:ext>
            </a:extLst>
          </p:cNvPr>
          <p:cNvSpPr/>
          <p:nvPr/>
        </p:nvSpPr>
        <p:spPr>
          <a:xfrm>
            <a:off x="329763" y="1339466"/>
            <a:ext cx="11789580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“Corporate Governance is the application of 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best Management Practices, Compliance of Laws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in true letter and spirit and 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adherence to ethical standards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for effective management and distribution of wealth and discharge of social responsibility for 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sustainable development of all stakeholders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.”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6" name="Google Shape;866;p5">
            <a:extLst>
              <a:ext uri="{FF2B5EF4-FFF2-40B4-BE49-F238E27FC236}">
                <a16:creationId xmlns:a16="http://schemas.microsoft.com/office/drawing/2014/main" id="{5822AC72-C88D-4432-AB50-9C30CF3FE91E}"/>
              </a:ext>
            </a:extLst>
          </p:cNvPr>
          <p:cNvSpPr/>
          <p:nvPr/>
        </p:nvSpPr>
        <p:spPr>
          <a:xfrm>
            <a:off x="397495" y="1013987"/>
            <a:ext cx="471494" cy="259057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1188;p24">
            <a:extLst>
              <a:ext uri="{FF2B5EF4-FFF2-40B4-BE49-F238E27FC236}">
                <a16:creationId xmlns:a16="http://schemas.microsoft.com/office/drawing/2014/main" id="{71193C15-0254-48B5-B5AA-B980185155C5}"/>
              </a:ext>
            </a:extLst>
          </p:cNvPr>
          <p:cNvSpPr/>
          <p:nvPr/>
        </p:nvSpPr>
        <p:spPr>
          <a:xfrm>
            <a:off x="1827906" y="2545897"/>
            <a:ext cx="3928019" cy="1766206"/>
          </a:xfrm>
          <a:prstGeom prst="roundRect">
            <a:avLst>
              <a:gd name="adj" fmla="val 12116"/>
            </a:avLst>
          </a:prstGeom>
          <a:noFill/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81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" name="Google Shape;1189;p24">
            <a:extLst>
              <a:ext uri="{FF2B5EF4-FFF2-40B4-BE49-F238E27FC236}">
                <a16:creationId xmlns:a16="http://schemas.microsoft.com/office/drawing/2014/main" id="{8BAC8189-C889-49F7-8341-5F127C92B3AB}"/>
              </a:ext>
            </a:extLst>
          </p:cNvPr>
          <p:cNvSpPr/>
          <p:nvPr/>
        </p:nvSpPr>
        <p:spPr>
          <a:xfrm>
            <a:off x="1895486" y="2597646"/>
            <a:ext cx="338622" cy="338622"/>
          </a:xfrm>
          <a:prstGeom prst="ellipse">
            <a:avLst/>
          </a:prstGeom>
          <a:noFill/>
          <a:ln w="254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634" b="0" i="0" u="none" strike="noStrike" kern="0" cap="none" spc="0" normalizeH="0" baseline="0" noProof="0" dirty="0">
              <a:ln>
                <a:noFill/>
              </a:ln>
              <a:solidFill>
                <a:srgbClr val="DB536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190;p24">
            <a:extLst>
              <a:ext uri="{FF2B5EF4-FFF2-40B4-BE49-F238E27FC236}">
                <a16:creationId xmlns:a16="http://schemas.microsoft.com/office/drawing/2014/main" id="{A15B12E9-3F67-4F33-B38D-738C6C061518}"/>
              </a:ext>
            </a:extLst>
          </p:cNvPr>
          <p:cNvSpPr/>
          <p:nvPr/>
        </p:nvSpPr>
        <p:spPr>
          <a:xfrm>
            <a:off x="1982240" y="2686895"/>
            <a:ext cx="165115" cy="160124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634" b="0" i="0" u="none" strike="noStrike" kern="0" cap="none" spc="0" normalizeH="0" baseline="0" noProof="0" dirty="0">
              <a:ln>
                <a:noFill/>
              </a:ln>
              <a:solidFill>
                <a:srgbClr val="DB536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" name="Google Shape;1191;p24">
            <a:extLst>
              <a:ext uri="{FF2B5EF4-FFF2-40B4-BE49-F238E27FC236}">
                <a16:creationId xmlns:a16="http://schemas.microsoft.com/office/drawing/2014/main" id="{BC122C26-323E-416D-9436-5F9995934948}"/>
              </a:ext>
            </a:extLst>
          </p:cNvPr>
          <p:cNvSpPr/>
          <p:nvPr/>
        </p:nvSpPr>
        <p:spPr>
          <a:xfrm>
            <a:off x="5357028" y="2597646"/>
            <a:ext cx="338622" cy="338622"/>
          </a:xfrm>
          <a:prstGeom prst="ellipse">
            <a:avLst/>
          </a:prstGeom>
          <a:noFill/>
          <a:ln w="254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634" b="0" i="0" u="none" strike="noStrike" kern="0" cap="none" spc="0" normalizeH="0" baseline="0" noProof="0" dirty="0">
              <a:ln>
                <a:noFill/>
              </a:ln>
              <a:solidFill>
                <a:srgbClr val="DB536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" name="Google Shape;1192;p24">
            <a:extLst>
              <a:ext uri="{FF2B5EF4-FFF2-40B4-BE49-F238E27FC236}">
                <a16:creationId xmlns:a16="http://schemas.microsoft.com/office/drawing/2014/main" id="{44AAD8E2-1225-49AE-BD33-81F392C8B520}"/>
              </a:ext>
            </a:extLst>
          </p:cNvPr>
          <p:cNvSpPr/>
          <p:nvPr/>
        </p:nvSpPr>
        <p:spPr>
          <a:xfrm>
            <a:off x="5447877" y="2686895"/>
            <a:ext cx="159675" cy="160124"/>
          </a:xfrm>
          <a:prstGeom prst="ellipse">
            <a:avLst/>
          </a:prstGeom>
          <a:solidFill>
            <a:schemeClr val="dk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634" b="0" i="0" u="none" strike="noStrike" kern="0" cap="none" spc="0" normalizeH="0" baseline="0" noProof="0" dirty="0">
              <a:ln>
                <a:noFill/>
              </a:ln>
              <a:solidFill>
                <a:srgbClr val="DB536A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1193;p24">
            <a:extLst>
              <a:ext uri="{FF2B5EF4-FFF2-40B4-BE49-F238E27FC236}">
                <a16:creationId xmlns:a16="http://schemas.microsoft.com/office/drawing/2014/main" id="{EB6BC2ED-0DDC-4F7F-9DEE-087DFCE9F016}"/>
              </a:ext>
            </a:extLst>
          </p:cNvPr>
          <p:cNvSpPr/>
          <p:nvPr/>
        </p:nvSpPr>
        <p:spPr>
          <a:xfrm rot="-5400000">
            <a:off x="247019" y="3340207"/>
            <a:ext cx="3148892" cy="2983403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accent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8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1194;p24">
            <a:extLst>
              <a:ext uri="{FF2B5EF4-FFF2-40B4-BE49-F238E27FC236}">
                <a16:creationId xmlns:a16="http://schemas.microsoft.com/office/drawing/2014/main" id="{A0D82D23-A268-45E7-BBC3-4435868B414B}"/>
              </a:ext>
            </a:extLst>
          </p:cNvPr>
          <p:cNvSpPr/>
          <p:nvPr/>
        </p:nvSpPr>
        <p:spPr>
          <a:xfrm>
            <a:off x="397495" y="3946773"/>
            <a:ext cx="2851363" cy="2397290"/>
          </a:xfrm>
          <a:prstGeom prst="rect">
            <a:avLst/>
          </a:prstGeom>
          <a:solidFill>
            <a:srgbClr val="3F3F3F"/>
          </a:solidFill>
          <a:ln>
            <a:noFill/>
          </a:ln>
        </p:spPr>
        <p:txBody>
          <a:bodyPr spcFirstLastPara="1" wrap="square" lIns="91475" tIns="45725" rIns="91475" bIns="457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81" b="1" i="0" u="none" strike="noStrike" kern="0" cap="none" spc="0" normalizeH="0" baseline="0" noProof="0" dirty="0">
              <a:ln>
                <a:noFill/>
              </a:ln>
              <a:solidFill>
                <a:srgbClr val="B069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1195;p24">
            <a:extLst>
              <a:ext uri="{FF2B5EF4-FFF2-40B4-BE49-F238E27FC236}">
                <a16:creationId xmlns:a16="http://schemas.microsoft.com/office/drawing/2014/main" id="{FA6062C1-0968-4100-8ABE-28B0288F4003}"/>
              </a:ext>
            </a:extLst>
          </p:cNvPr>
          <p:cNvSpPr/>
          <p:nvPr/>
        </p:nvSpPr>
        <p:spPr>
          <a:xfrm>
            <a:off x="1055795" y="3612222"/>
            <a:ext cx="1513115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1. Governanc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85" name="Google Shape;1196;p24">
            <a:extLst>
              <a:ext uri="{FF2B5EF4-FFF2-40B4-BE49-F238E27FC236}">
                <a16:creationId xmlns:a16="http://schemas.microsoft.com/office/drawing/2014/main" id="{F1829A7A-096A-44DA-8FC6-1C16F6517772}"/>
              </a:ext>
            </a:extLst>
          </p:cNvPr>
          <p:cNvSpPr/>
          <p:nvPr/>
        </p:nvSpPr>
        <p:spPr>
          <a:xfrm rot="-5400000">
            <a:off x="4416907" y="3860032"/>
            <a:ext cx="2680451" cy="2983403"/>
          </a:xfrm>
          <a:prstGeom prst="rightArrow">
            <a:avLst>
              <a:gd name="adj1" fmla="val 100000"/>
              <a:gd name="adj2" fmla="val 20362"/>
            </a:avLst>
          </a:prstGeom>
          <a:solidFill>
            <a:schemeClr val="accent6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8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1197;p24">
            <a:extLst>
              <a:ext uri="{FF2B5EF4-FFF2-40B4-BE49-F238E27FC236}">
                <a16:creationId xmlns:a16="http://schemas.microsoft.com/office/drawing/2014/main" id="{16C1B263-8A16-427E-84EB-C20B5A1F3CAA}"/>
              </a:ext>
            </a:extLst>
          </p:cNvPr>
          <p:cNvSpPr/>
          <p:nvPr/>
        </p:nvSpPr>
        <p:spPr>
          <a:xfrm>
            <a:off x="4325951" y="4732281"/>
            <a:ext cx="2859204" cy="1933553"/>
          </a:xfrm>
          <a:prstGeom prst="rect">
            <a:avLst/>
          </a:prstGeom>
          <a:solidFill>
            <a:srgbClr val="3F3F3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87" name="Google Shape;1198;p24">
            <a:extLst>
              <a:ext uri="{FF2B5EF4-FFF2-40B4-BE49-F238E27FC236}">
                <a16:creationId xmlns:a16="http://schemas.microsoft.com/office/drawing/2014/main" id="{1EE2F9CC-E83F-421C-9288-4F779F839752}"/>
              </a:ext>
            </a:extLst>
          </p:cNvPr>
          <p:cNvSpPr/>
          <p:nvPr/>
        </p:nvSpPr>
        <p:spPr>
          <a:xfrm>
            <a:off x="5107816" y="4346154"/>
            <a:ext cx="1437838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2. Gain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88" name="Google Shape;1199;p24">
            <a:extLst>
              <a:ext uri="{FF2B5EF4-FFF2-40B4-BE49-F238E27FC236}">
                <a16:creationId xmlns:a16="http://schemas.microsoft.com/office/drawing/2014/main" id="{491AD572-483F-4426-9558-B17DADAC51D1}"/>
              </a:ext>
            </a:extLst>
          </p:cNvPr>
          <p:cNvSpPr/>
          <p:nvPr/>
        </p:nvSpPr>
        <p:spPr>
          <a:xfrm>
            <a:off x="4395545" y="4738631"/>
            <a:ext cx="2729090" cy="32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73301" marR="0" lvl="0" indent="-3733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     Chase for short term gains, frothy valuations </a:t>
            </a:r>
          </a:p>
        </p:txBody>
      </p:sp>
      <p:sp>
        <p:nvSpPr>
          <p:cNvPr id="91" name="Google Shape;1202;p24">
            <a:extLst>
              <a:ext uri="{FF2B5EF4-FFF2-40B4-BE49-F238E27FC236}">
                <a16:creationId xmlns:a16="http://schemas.microsoft.com/office/drawing/2014/main" id="{F70D6290-010A-4F7B-81E8-1E7A9782B30D}"/>
              </a:ext>
            </a:extLst>
          </p:cNvPr>
          <p:cNvSpPr/>
          <p:nvPr/>
        </p:nvSpPr>
        <p:spPr>
          <a:xfrm>
            <a:off x="456592" y="4030008"/>
            <a:ext cx="2736165" cy="32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Sustainable, long-term growth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95" name="Google Shape;1202;p24">
            <a:extLst>
              <a:ext uri="{FF2B5EF4-FFF2-40B4-BE49-F238E27FC236}">
                <a16:creationId xmlns:a16="http://schemas.microsoft.com/office/drawing/2014/main" id="{3CAC400B-7123-4488-954A-88F1A7DD9551}"/>
              </a:ext>
            </a:extLst>
          </p:cNvPr>
          <p:cNvSpPr/>
          <p:nvPr/>
        </p:nvSpPr>
        <p:spPr>
          <a:xfrm>
            <a:off x="459823" y="4404315"/>
            <a:ext cx="2736165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Shared responsibility and accountabilit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96" name="Google Shape;1202;p24">
            <a:extLst>
              <a:ext uri="{FF2B5EF4-FFF2-40B4-BE49-F238E27FC236}">
                <a16:creationId xmlns:a16="http://schemas.microsoft.com/office/drawing/2014/main" id="{8C2687F4-D3A1-4CB2-9C5F-DCF66FE37FB6}"/>
              </a:ext>
            </a:extLst>
          </p:cNvPr>
          <p:cNvSpPr/>
          <p:nvPr/>
        </p:nvSpPr>
        <p:spPr>
          <a:xfrm>
            <a:off x="473966" y="4832269"/>
            <a:ext cx="2736165" cy="32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latin typeface="Georgia" panose="02040502050405020303" pitchFamily="18" charset="0"/>
              </a:rPr>
              <a:t>T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ransparency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97" name="Google Shape;1202;p24">
            <a:extLst>
              <a:ext uri="{FF2B5EF4-FFF2-40B4-BE49-F238E27FC236}">
                <a16:creationId xmlns:a16="http://schemas.microsoft.com/office/drawing/2014/main" id="{73227923-ECD6-4CD4-8013-8700298950E4}"/>
              </a:ext>
            </a:extLst>
          </p:cNvPr>
          <p:cNvSpPr/>
          <p:nvPr/>
        </p:nvSpPr>
        <p:spPr>
          <a:xfrm>
            <a:off x="473966" y="5232555"/>
            <a:ext cx="2736165" cy="32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Culture of empowerment and trust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98" name="Google Shape;1202;p24">
            <a:extLst>
              <a:ext uri="{FF2B5EF4-FFF2-40B4-BE49-F238E27FC236}">
                <a16:creationId xmlns:a16="http://schemas.microsoft.com/office/drawing/2014/main" id="{8A123F16-4281-4FF8-BD10-1298CA2EBAC8}"/>
              </a:ext>
            </a:extLst>
          </p:cNvPr>
          <p:cNvSpPr/>
          <p:nvPr/>
        </p:nvSpPr>
        <p:spPr>
          <a:xfrm>
            <a:off x="473966" y="5632841"/>
            <a:ext cx="2736165" cy="32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Risk/Crisis Management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99" name="Google Shape;1202;p24">
            <a:extLst>
              <a:ext uri="{FF2B5EF4-FFF2-40B4-BE49-F238E27FC236}">
                <a16:creationId xmlns:a16="http://schemas.microsoft.com/office/drawing/2014/main" id="{CD0FFCEF-3CB0-41A5-A36E-F4B8091A75A1}"/>
              </a:ext>
            </a:extLst>
          </p:cNvPr>
          <p:cNvSpPr/>
          <p:nvPr/>
        </p:nvSpPr>
        <p:spPr>
          <a:xfrm>
            <a:off x="473966" y="6017246"/>
            <a:ext cx="2736165" cy="3268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Aligning actions with intent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00" name="Google Shape;1199;p24">
            <a:extLst>
              <a:ext uri="{FF2B5EF4-FFF2-40B4-BE49-F238E27FC236}">
                <a16:creationId xmlns:a16="http://schemas.microsoft.com/office/drawing/2014/main" id="{1C5EF2CC-23C2-4BED-AF73-F48608AB99F1}"/>
              </a:ext>
            </a:extLst>
          </p:cNvPr>
          <p:cNvSpPr/>
          <p:nvPr/>
        </p:nvSpPr>
        <p:spPr>
          <a:xfrm>
            <a:off x="4395545" y="5120547"/>
            <a:ext cx="2729090" cy="32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73301" marR="0" lvl="0" indent="-3733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     Prioritize speed of growth and innovation over compliance</a:t>
            </a:r>
          </a:p>
        </p:txBody>
      </p:sp>
      <p:sp>
        <p:nvSpPr>
          <p:cNvPr id="101" name="Google Shape;1199;p24">
            <a:extLst>
              <a:ext uri="{FF2B5EF4-FFF2-40B4-BE49-F238E27FC236}">
                <a16:creationId xmlns:a16="http://schemas.microsoft.com/office/drawing/2014/main" id="{38C2E3F8-F806-4F8D-B535-B29B8F92DF6D}"/>
              </a:ext>
            </a:extLst>
          </p:cNvPr>
          <p:cNvSpPr/>
          <p:nvPr/>
        </p:nvSpPr>
        <p:spPr>
          <a:xfrm>
            <a:off x="4395545" y="5502463"/>
            <a:ext cx="2729090" cy="32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73301" marR="0" lvl="0" indent="-3733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Limited transparency and focus on compliance requirement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02" name="Google Shape;1199;p24">
            <a:extLst>
              <a:ext uri="{FF2B5EF4-FFF2-40B4-BE49-F238E27FC236}">
                <a16:creationId xmlns:a16="http://schemas.microsoft.com/office/drawing/2014/main" id="{D399A1D1-812E-41AE-85E9-85B49DA8FFA4}"/>
              </a:ext>
            </a:extLst>
          </p:cNvPr>
          <p:cNvSpPr/>
          <p:nvPr/>
        </p:nvSpPr>
        <p:spPr>
          <a:xfrm>
            <a:off x="4395545" y="5879130"/>
            <a:ext cx="2729090" cy="32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73301" marR="0" lvl="0" indent="-3733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     </a:t>
            </a:r>
            <a:r>
              <a:rPr lang="en-US" sz="1200" dirty="0">
                <a:solidFill>
                  <a:schemeClr val="tx1"/>
                </a:solidFill>
                <a:latin typeface="Georgia" panose="02040502050405020303" pitchFamily="18" charset="0"/>
              </a:rPr>
              <a:t>Trust based, onerous contract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03" name="Google Shape;1199;p24">
            <a:extLst>
              <a:ext uri="{FF2B5EF4-FFF2-40B4-BE49-F238E27FC236}">
                <a16:creationId xmlns:a16="http://schemas.microsoft.com/office/drawing/2014/main" id="{BE6143CE-29BE-4C46-87C3-F2BD31943E15}"/>
              </a:ext>
            </a:extLst>
          </p:cNvPr>
          <p:cNvSpPr/>
          <p:nvPr/>
        </p:nvSpPr>
        <p:spPr>
          <a:xfrm>
            <a:off x="4395545" y="6259099"/>
            <a:ext cx="2729090" cy="32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73301" marR="0" lvl="0" indent="-3733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anose="02040502050405020303" pitchFamily="18" charset="0"/>
                <a:sym typeface="Arial"/>
              </a:rPr>
              <a:t>      Risk/Crisis response</a:t>
            </a:r>
          </a:p>
        </p:txBody>
      </p:sp>
      <p:sp>
        <p:nvSpPr>
          <p:cNvPr id="104" name="Google Shape;7658;p418">
            <a:extLst>
              <a:ext uri="{FF2B5EF4-FFF2-40B4-BE49-F238E27FC236}">
                <a16:creationId xmlns:a16="http://schemas.microsoft.com/office/drawing/2014/main" id="{77855A86-9521-42A1-A213-299AE469A8D9}"/>
              </a:ext>
            </a:extLst>
          </p:cNvPr>
          <p:cNvSpPr txBox="1"/>
          <p:nvPr/>
        </p:nvSpPr>
        <p:spPr>
          <a:xfrm>
            <a:off x="2856119" y="2569042"/>
            <a:ext cx="2016000" cy="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600" b="1" dirty="0">
                <a:latin typeface="Georgia" panose="02040502050405020303" pitchFamily="18" charset="0"/>
              </a:rPr>
              <a:t>Ethical Dilemma</a:t>
            </a:r>
            <a:endParaRPr sz="1600" b="1" dirty="0">
              <a:latin typeface="Georgia" panose="02040502050405020303" pitchFamily="18" charset="0"/>
            </a:endParaRPr>
          </a:p>
        </p:txBody>
      </p:sp>
      <p:sp>
        <p:nvSpPr>
          <p:cNvPr id="164" name="Google Shape;9724;p453">
            <a:extLst>
              <a:ext uri="{FF2B5EF4-FFF2-40B4-BE49-F238E27FC236}">
                <a16:creationId xmlns:a16="http://schemas.microsoft.com/office/drawing/2014/main" id="{0131D220-E7E0-43AF-AF79-E42270A1665B}"/>
              </a:ext>
            </a:extLst>
          </p:cNvPr>
          <p:cNvSpPr/>
          <p:nvPr/>
        </p:nvSpPr>
        <p:spPr>
          <a:xfrm>
            <a:off x="8923372" y="2482503"/>
            <a:ext cx="124800" cy="124800"/>
          </a:xfrm>
          <a:prstGeom prst="rtTriangle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/>
          </a:p>
        </p:txBody>
      </p:sp>
      <p:sp>
        <p:nvSpPr>
          <p:cNvPr id="165" name="Google Shape;9725;p453">
            <a:extLst>
              <a:ext uri="{FF2B5EF4-FFF2-40B4-BE49-F238E27FC236}">
                <a16:creationId xmlns:a16="http://schemas.microsoft.com/office/drawing/2014/main" id="{A8A0DDF2-7D5F-4794-A42D-FE485B080E36}"/>
              </a:ext>
            </a:extLst>
          </p:cNvPr>
          <p:cNvSpPr/>
          <p:nvPr/>
        </p:nvSpPr>
        <p:spPr>
          <a:xfrm>
            <a:off x="8861160" y="2607304"/>
            <a:ext cx="2697200" cy="328400"/>
          </a:xfrm>
          <a:prstGeom prst="snip2DiagRect">
            <a:avLst>
              <a:gd name="adj1" fmla="val 0"/>
              <a:gd name="adj2" fmla="val 35739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r>
              <a:rPr lang="en" sz="1200" b="1" dirty="0">
                <a:solidFill>
                  <a:schemeClr val="lt1"/>
                </a:solidFill>
                <a:latin typeface="Georgia" panose="02040502050405020303" pitchFamily="18" charset="0"/>
              </a:rPr>
              <a:t>Governance Pillars</a:t>
            </a:r>
            <a:endParaRPr sz="1200" b="1" dirty="0">
              <a:solidFill>
                <a:schemeClr val="lt1"/>
              </a:solidFill>
              <a:latin typeface="Georgia" panose="02040502050405020303" pitchFamily="18" charset="0"/>
            </a:endParaRPr>
          </a:p>
        </p:txBody>
      </p:sp>
      <p:sp>
        <p:nvSpPr>
          <p:cNvPr id="166" name="Google Shape;9726;p453">
            <a:extLst>
              <a:ext uri="{FF2B5EF4-FFF2-40B4-BE49-F238E27FC236}">
                <a16:creationId xmlns:a16="http://schemas.microsoft.com/office/drawing/2014/main" id="{C334EB94-1232-48CC-B743-62BC7543D14D}"/>
              </a:ext>
            </a:extLst>
          </p:cNvPr>
          <p:cNvSpPr/>
          <p:nvPr/>
        </p:nvSpPr>
        <p:spPr>
          <a:xfrm>
            <a:off x="8595727" y="2482491"/>
            <a:ext cx="453200" cy="4532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/>
          </a:p>
        </p:txBody>
      </p:sp>
      <p:sp>
        <p:nvSpPr>
          <p:cNvPr id="167" name="Google Shape;9727;p453">
            <a:extLst>
              <a:ext uri="{FF2B5EF4-FFF2-40B4-BE49-F238E27FC236}">
                <a16:creationId xmlns:a16="http://schemas.microsoft.com/office/drawing/2014/main" id="{FB70593A-E9DA-46EE-B226-E4C10FFE541E}"/>
              </a:ext>
            </a:extLst>
          </p:cNvPr>
          <p:cNvSpPr/>
          <p:nvPr/>
        </p:nvSpPr>
        <p:spPr>
          <a:xfrm rot="-5400000">
            <a:off x="11432671" y="2816755"/>
            <a:ext cx="88000" cy="88000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/>
          </a:p>
        </p:txBody>
      </p:sp>
      <p:sp>
        <p:nvSpPr>
          <p:cNvPr id="168" name="Google Shape;9734;p453">
            <a:extLst>
              <a:ext uri="{FF2B5EF4-FFF2-40B4-BE49-F238E27FC236}">
                <a16:creationId xmlns:a16="http://schemas.microsoft.com/office/drawing/2014/main" id="{DA04919B-0EA7-4D72-B7B0-8717BE741FC3}"/>
              </a:ext>
            </a:extLst>
          </p:cNvPr>
          <p:cNvSpPr/>
          <p:nvPr/>
        </p:nvSpPr>
        <p:spPr>
          <a:xfrm>
            <a:off x="8667204" y="2558752"/>
            <a:ext cx="304801" cy="304801"/>
          </a:xfrm>
          <a:custGeom>
            <a:avLst/>
            <a:gdLst/>
            <a:ahLst/>
            <a:cxnLst/>
            <a:rect l="l" t="t" r="r" b="b"/>
            <a:pathLst>
              <a:path w="2322" h="2322" extrusionOk="0">
                <a:moveTo>
                  <a:pt x="1160" y="314"/>
                </a:moveTo>
                <a:cubicBezTo>
                  <a:pt x="692" y="314"/>
                  <a:pt x="313" y="693"/>
                  <a:pt x="313" y="1161"/>
                </a:cubicBezTo>
                <a:cubicBezTo>
                  <a:pt x="313" y="1629"/>
                  <a:pt x="692" y="2009"/>
                  <a:pt x="1160" y="2009"/>
                </a:cubicBezTo>
                <a:cubicBezTo>
                  <a:pt x="1628" y="2009"/>
                  <a:pt x="2007" y="1629"/>
                  <a:pt x="2007" y="1161"/>
                </a:cubicBezTo>
                <a:cubicBezTo>
                  <a:pt x="2007" y="693"/>
                  <a:pt x="1628" y="314"/>
                  <a:pt x="1160" y="314"/>
                </a:cubicBezTo>
                <a:close/>
                <a:moveTo>
                  <a:pt x="591" y="681"/>
                </a:moveTo>
                <a:cubicBezTo>
                  <a:pt x="656" y="600"/>
                  <a:pt x="740" y="540"/>
                  <a:pt x="833" y="491"/>
                </a:cubicBezTo>
                <a:cubicBezTo>
                  <a:pt x="841" y="487"/>
                  <a:pt x="841" y="487"/>
                  <a:pt x="841" y="487"/>
                </a:cubicBezTo>
                <a:cubicBezTo>
                  <a:pt x="837" y="495"/>
                  <a:pt x="837" y="495"/>
                  <a:pt x="837" y="495"/>
                </a:cubicBezTo>
                <a:cubicBezTo>
                  <a:pt x="793" y="548"/>
                  <a:pt x="757" y="612"/>
                  <a:pt x="728" y="685"/>
                </a:cubicBezTo>
                <a:cubicBezTo>
                  <a:pt x="724" y="685"/>
                  <a:pt x="724" y="685"/>
                  <a:pt x="724" y="685"/>
                </a:cubicBezTo>
                <a:cubicBezTo>
                  <a:pt x="587" y="685"/>
                  <a:pt x="587" y="685"/>
                  <a:pt x="587" y="685"/>
                </a:cubicBezTo>
                <a:cubicBezTo>
                  <a:pt x="591" y="681"/>
                  <a:pt x="591" y="681"/>
                  <a:pt x="591" y="681"/>
                </a:cubicBezTo>
                <a:cubicBezTo>
                  <a:pt x="591" y="681"/>
                  <a:pt x="591" y="681"/>
                  <a:pt x="591" y="681"/>
                </a:cubicBezTo>
                <a:close/>
                <a:moveTo>
                  <a:pt x="418" y="1109"/>
                </a:moveTo>
                <a:cubicBezTo>
                  <a:pt x="426" y="996"/>
                  <a:pt x="458" y="887"/>
                  <a:pt x="514" y="790"/>
                </a:cubicBezTo>
                <a:cubicBezTo>
                  <a:pt x="514" y="786"/>
                  <a:pt x="514" y="786"/>
                  <a:pt x="514" y="786"/>
                </a:cubicBezTo>
                <a:cubicBezTo>
                  <a:pt x="688" y="786"/>
                  <a:pt x="688" y="786"/>
                  <a:pt x="688" y="786"/>
                </a:cubicBezTo>
                <a:cubicBezTo>
                  <a:pt x="688" y="790"/>
                  <a:pt x="688" y="790"/>
                  <a:pt x="688" y="790"/>
                </a:cubicBezTo>
                <a:cubicBezTo>
                  <a:pt x="660" y="891"/>
                  <a:pt x="640" y="996"/>
                  <a:pt x="635" y="1109"/>
                </a:cubicBezTo>
                <a:cubicBezTo>
                  <a:pt x="635" y="1109"/>
                  <a:pt x="635" y="1109"/>
                  <a:pt x="635" y="1109"/>
                </a:cubicBezTo>
                <a:cubicBezTo>
                  <a:pt x="418" y="1109"/>
                  <a:pt x="418" y="1109"/>
                  <a:pt x="418" y="1109"/>
                </a:cubicBezTo>
                <a:close/>
                <a:moveTo>
                  <a:pt x="514" y="1536"/>
                </a:moveTo>
                <a:cubicBezTo>
                  <a:pt x="514" y="1532"/>
                  <a:pt x="514" y="1532"/>
                  <a:pt x="514" y="1532"/>
                </a:cubicBezTo>
                <a:cubicBezTo>
                  <a:pt x="458" y="1436"/>
                  <a:pt x="426" y="1327"/>
                  <a:pt x="418" y="1214"/>
                </a:cubicBezTo>
                <a:cubicBezTo>
                  <a:pt x="418" y="1214"/>
                  <a:pt x="418" y="1214"/>
                  <a:pt x="418" y="1214"/>
                </a:cubicBezTo>
                <a:cubicBezTo>
                  <a:pt x="635" y="1214"/>
                  <a:pt x="635" y="1214"/>
                  <a:pt x="635" y="1214"/>
                </a:cubicBezTo>
                <a:cubicBezTo>
                  <a:pt x="635" y="1214"/>
                  <a:pt x="635" y="1214"/>
                  <a:pt x="635" y="1214"/>
                </a:cubicBezTo>
                <a:cubicBezTo>
                  <a:pt x="640" y="1327"/>
                  <a:pt x="660" y="1432"/>
                  <a:pt x="688" y="1532"/>
                </a:cubicBezTo>
                <a:cubicBezTo>
                  <a:pt x="688" y="1536"/>
                  <a:pt x="688" y="1536"/>
                  <a:pt x="688" y="1536"/>
                </a:cubicBezTo>
                <a:cubicBezTo>
                  <a:pt x="514" y="1536"/>
                  <a:pt x="514" y="1536"/>
                  <a:pt x="514" y="1536"/>
                </a:cubicBezTo>
                <a:cubicBezTo>
                  <a:pt x="514" y="1536"/>
                  <a:pt x="514" y="1536"/>
                  <a:pt x="514" y="1536"/>
                </a:cubicBezTo>
                <a:close/>
                <a:moveTo>
                  <a:pt x="833" y="1831"/>
                </a:moveTo>
                <a:cubicBezTo>
                  <a:pt x="740" y="1783"/>
                  <a:pt x="656" y="1722"/>
                  <a:pt x="591" y="1641"/>
                </a:cubicBezTo>
                <a:cubicBezTo>
                  <a:pt x="587" y="1637"/>
                  <a:pt x="587" y="1637"/>
                  <a:pt x="587" y="1637"/>
                </a:cubicBezTo>
                <a:cubicBezTo>
                  <a:pt x="724" y="1637"/>
                  <a:pt x="724" y="1637"/>
                  <a:pt x="724" y="1637"/>
                </a:cubicBezTo>
                <a:cubicBezTo>
                  <a:pt x="728" y="1637"/>
                  <a:pt x="728" y="1637"/>
                  <a:pt x="728" y="1637"/>
                </a:cubicBezTo>
                <a:cubicBezTo>
                  <a:pt x="757" y="1710"/>
                  <a:pt x="793" y="1775"/>
                  <a:pt x="837" y="1827"/>
                </a:cubicBezTo>
                <a:cubicBezTo>
                  <a:pt x="841" y="1835"/>
                  <a:pt x="841" y="1835"/>
                  <a:pt x="841" y="1835"/>
                </a:cubicBezTo>
                <a:cubicBezTo>
                  <a:pt x="833" y="1831"/>
                  <a:pt x="833" y="1831"/>
                  <a:pt x="833" y="1831"/>
                </a:cubicBezTo>
                <a:cubicBezTo>
                  <a:pt x="833" y="1831"/>
                  <a:pt x="833" y="1831"/>
                  <a:pt x="833" y="1831"/>
                </a:cubicBezTo>
                <a:close/>
                <a:moveTo>
                  <a:pt x="1108" y="1900"/>
                </a:moveTo>
                <a:cubicBezTo>
                  <a:pt x="1108" y="1900"/>
                  <a:pt x="1108" y="1900"/>
                  <a:pt x="1108" y="1900"/>
                </a:cubicBezTo>
                <a:cubicBezTo>
                  <a:pt x="1003" y="1876"/>
                  <a:pt x="910" y="1783"/>
                  <a:pt x="841" y="1641"/>
                </a:cubicBezTo>
                <a:cubicBezTo>
                  <a:pt x="837" y="1637"/>
                  <a:pt x="837" y="1637"/>
                  <a:pt x="837" y="1637"/>
                </a:cubicBezTo>
                <a:cubicBezTo>
                  <a:pt x="1108" y="1637"/>
                  <a:pt x="1108" y="1637"/>
                  <a:pt x="1108" y="1637"/>
                </a:cubicBezTo>
                <a:cubicBezTo>
                  <a:pt x="1108" y="1900"/>
                  <a:pt x="1108" y="1900"/>
                  <a:pt x="1108" y="1900"/>
                </a:cubicBezTo>
                <a:cubicBezTo>
                  <a:pt x="1108" y="1900"/>
                  <a:pt x="1108" y="1900"/>
                  <a:pt x="1108" y="1900"/>
                </a:cubicBezTo>
                <a:close/>
                <a:moveTo>
                  <a:pt x="1108" y="1536"/>
                </a:moveTo>
                <a:cubicBezTo>
                  <a:pt x="797" y="1536"/>
                  <a:pt x="797" y="1536"/>
                  <a:pt x="797" y="1536"/>
                </a:cubicBezTo>
                <a:cubicBezTo>
                  <a:pt x="797" y="1532"/>
                  <a:pt x="797" y="1532"/>
                  <a:pt x="797" y="1532"/>
                </a:cubicBezTo>
                <a:cubicBezTo>
                  <a:pt x="765" y="1436"/>
                  <a:pt x="744" y="1327"/>
                  <a:pt x="740" y="1214"/>
                </a:cubicBezTo>
                <a:cubicBezTo>
                  <a:pt x="740" y="1214"/>
                  <a:pt x="740" y="1214"/>
                  <a:pt x="740" y="1214"/>
                </a:cubicBezTo>
                <a:cubicBezTo>
                  <a:pt x="1108" y="1214"/>
                  <a:pt x="1108" y="1214"/>
                  <a:pt x="1108" y="1214"/>
                </a:cubicBezTo>
                <a:cubicBezTo>
                  <a:pt x="1108" y="1536"/>
                  <a:pt x="1108" y="1536"/>
                  <a:pt x="1108" y="1536"/>
                </a:cubicBezTo>
                <a:cubicBezTo>
                  <a:pt x="1108" y="1536"/>
                  <a:pt x="1108" y="1536"/>
                  <a:pt x="1108" y="1536"/>
                </a:cubicBezTo>
                <a:close/>
                <a:moveTo>
                  <a:pt x="1108" y="1109"/>
                </a:moveTo>
                <a:cubicBezTo>
                  <a:pt x="740" y="1109"/>
                  <a:pt x="740" y="1109"/>
                  <a:pt x="740" y="1109"/>
                </a:cubicBezTo>
                <a:cubicBezTo>
                  <a:pt x="740" y="1109"/>
                  <a:pt x="740" y="1109"/>
                  <a:pt x="740" y="1109"/>
                </a:cubicBezTo>
                <a:cubicBezTo>
                  <a:pt x="744" y="996"/>
                  <a:pt x="765" y="887"/>
                  <a:pt x="797" y="790"/>
                </a:cubicBezTo>
                <a:cubicBezTo>
                  <a:pt x="797" y="786"/>
                  <a:pt x="797" y="786"/>
                  <a:pt x="797" y="786"/>
                </a:cubicBezTo>
                <a:cubicBezTo>
                  <a:pt x="1108" y="786"/>
                  <a:pt x="1108" y="786"/>
                  <a:pt x="1108" y="786"/>
                </a:cubicBezTo>
                <a:cubicBezTo>
                  <a:pt x="1108" y="1109"/>
                  <a:pt x="1108" y="1109"/>
                  <a:pt x="1108" y="1109"/>
                </a:cubicBezTo>
                <a:cubicBezTo>
                  <a:pt x="1108" y="1109"/>
                  <a:pt x="1108" y="1109"/>
                  <a:pt x="1108" y="1109"/>
                </a:cubicBezTo>
                <a:close/>
                <a:moveTo>
                  <a:pt x="1108" y="685"/>
                </a:moveTo>
                <a:cubicBezTo>
                  <a:pt x="837" y="685"/>
                  <a:pt x="837" y="685"/>
                  <a:pt x="837" y="685"/>
                </a:cubicBezTo>
                <a:cubicBezTo>
                  <a:pt x="841" y="681"/>
                  <a:pt x="841" y="681"/>
                  <a:pt x="841" y="681"/>
                </a:cubicBezTo>
                <a:cubicBezTo>
                  <a:pt x="910" y="540"/>
                  <a:pt x="1003" y="447"/>
                  <a:pt x="1108" y="423"/>
                </a:cubicBezTo>
                <a:cubicBezTo>
                  <a:pt x="1108" y="423"/>
                  <a:pt x="1108" y="423"/>
                  <a:pt x="1108" y="423"/>
                </a:cubicBezTo>
                <a:cubicBezTo>
                  <a:pt x="1108" y="685"/>
                  <a:pt x="1108" y="685"/>
                  <a:pt x="1108" y="685"/>
                </a:cubicBezTo>
                <a:cubicBezTo>
                  <a:pt x="1108" y="685"/>
                  <a:pt x="1108" y="685"/>
                  <a:pt x="1108" y="685"/>
                </a:cubicBezTo>
                <a:close/>
                <a:moveTo>
                  <a:pt x="1487" y="491"/>
                </a:moveTo>
                <a:cubicBezTo>
                  <a:pt x="1580" y="540"/>
                  <a:pt x="1664" y="600"/>
                  <a:pt x="1729" y="681"/>
                </a:cubicBezTo>
                <a:cubicBezTo>
                  <a:pt x="1733" y="685"/>
                  <a:pt x="1733" y="685"/>
                  <a:pt x="1733" y="685"/>
                </a:cubicBezTo>
                <a:cubicBezTo>
                  <a:pt x="1596" y="685"/>
                  <a:pt x="1596" y="685"/>
                  <a:pt x="1596" y="685"/>
                </a:cubicBezTo>
                <a:cubicBezTo>
                  <a:pt x="1592" y="685"/>
                  <a:pt x="1592" y="685"/>
                  <a:pt x="1592" y="685"/>
                </a:cubicBezTo>
                <a:cubicBezTo>
                  <a:pt x="1563" y="612"/>
                  <a:pt x="1527" y="548"/>
                  <a:pt x="1483" y="495"/>
                </a:cubicBezTo>
                <a:cubicBezTo>
                  <a:pt x="1479" y="487"/>
                  <a:pt x="1479" y="487"/>
                  <a:pt x="1479" y="487"/>
                </a:cubicBezTo>
                <a:cubicBezTo>
                  <a:pt x="1487" y="491"/>
                  <a:pt x="1487" y="491"/>
                  <a:pt x="1487" y="491"/>
                </a:cubicBezTo>
                <a:cubicBezTo>
                  <a:pt x="1487" y="491"/>
                  <a:pt x="1487" y="491"/>
                  <a:pt x="1487" y="491"/>
                </a:cubicBezTo>
                <a:close/>
                <a:moveTo>
                  <a:pt x="1212" y="423"/>
                </a:moveTo>
                <a:cubicBezTo>
                  <a:pt x="1212" y="423"/>
                  <a:pt x="1212" y="423"/>
                  <a:pt x="1212" y="423"/>
                </a:cubicBezTo>
                <a:cubicBezTo>
                  <a:pt x="1317" y="447"/>
                  <a:pt x="1410" y="540"/>
                  <a:pt x="1479" y="681"/>
                </a:cubicBezTo>
                <a:cubicBezTo>
                  <a:pt x="1483" y="685"/>
                  <a:pt x="1483" y="685"/>
                  <a:pt x="1483" y="685"/>
                </a:cubicBezTo>
                <a:cubicBezTo>
                  <a:pt x="1212" y="685"/>
                  <a:pt x="1212" y="685"/>
                  <a:pt x="1212" y="685"/>
                </a:cubicBezTo>
                <a:cubicBezTo>
                  <a:pt x="1212" y="423"/>
                  <a:pt x="1212" y="423"/>
                  <a:pt x="1212" y="423"/>
                </a:cubicBezTo>
                <a:cubicBezTo>
                  <a:pt x="1212" y="423"/>
                  <a:pt x="1212" y="423"/>
                  <a:pt x="1212" y="423"/>
                </a:cubicBezTo>
                <a:close/>
                <a:moveTo>
                  <a:pt x="1212" y="786"/>
                </a:moveTo>
                <a:cubicBezTo>
                  <a:pt x="1523" y="786"/>
                  <a:pt x="1523" y="786"/>
                  <a:pt x="1523" y="786"/>
                </a:cubicBezTo>
                <a:cubicBezTo>
                  <a:pt x="1523" y="790"/>
                  <a:pt x="1523" y="790"/>
                  <a:pt x="1523" y="790"/>
                </a:cubicBezTo>
                <a:cubicBezTo>
                  <a:pt x="1555" y="887"/>
                  <a:pt x="1576" y="996"/>
                  <a:pt x="1580" y="1109"/>
                </a:cubicBezTo>
                <a:cubicBezTo>
                  <a:pt x="1580" y="1109"/>
                  <a:pt x="1580" y="1109"/>
                  <a:pt x="1580" y="1109"/>
                </a:cubicBezTo>
                <a:cubicBezTo>
                  <a:pt x="1212" y="1109"/>
                  <a:pt x="1212" y="1109"/>
                  <a:pt x="1212" y="1109"/>
                </a:cubicBezTo>
                <a:cubicBezTo>
                  <a:pt x="1212" y="786"/>
                  <a:pt x="1212" y="786"/>
                  <a:pt x="1212" y="786"/>
                </a:cubicBezTo>
                <a:cubicBezTo>
                  <a:pt x="1212" y="786"/>
                  <a:pt x="1212" y="786"/>
                  <a:pt x="1212" y="786"/>
                </a:cubicBezTo>
                <a:close/>
                <a:moveTo>
                  <a:pt x="1212" y="1214"/>
                </a:moveTo>
                <a:cubicBezTo>
                  <a:pt x="1580" y="1214"/>
                  <a:pt x="1580" y="1214"/>
                  <a:pt x="1580" y="1214"/>
                </a:cubicBezTo>
                <a:cubicBezTo>
                  <a:pt x="1580" y="1214"/>
                  <a:pt x="1580" y="1214"/>
                  <a:pt x="1580" y="1214"/>
                </a:cubicBezTo>
                <a:cubicBezTo>
                  <a:pt x="1576" y="1327"/>
                  <a:pt x="1555" y="1436"/>
                  <a:pt x="1523" y="1532"/>
                </a:cubicBezTo>
                <a:cubicBezTo>
                  <a:pt x="1523" y="1536"/>
                  <a:pt x="1523" y="1536"/>
                  <a:pt x="1523" y="1536"/>
                </a:cubicBezTo>
                <a:cubicBezTo>
                  <a:pt x="1212" y="1536"/>
                  <a:pt x="1212" y="1536"/>
                  <a:pt x="1212" y="1536"/>
                </a:cubicBezTo>
                <a:cubicBezTo>
                  <a:pt x="1212" y="1214"/>
                  <a:pt x="1212" y="1214"/>
                  <a:pt x="1212" y="1214"/>
                </a:cubicBezTo>
                <a:cubicBezTo>
                  <a:pt x="1212" y="1214"/>
                  <a:pt x="1212" y="1214"/>
                  <a:pt x="1212" y="1214"/>
                </a:cubicBezTo>
                <a:close/>
                <a:moveTo>
                  <a:pt x="1212" y="1900"/>
                </a:moveTo>
                <a:cubicBezTo>
                  <a:pt x="1212" y="1900"/>
                  <a:pt x="1212" y="1900"/>
                  <a:pt x="1212" y="1900"/>
                </a:cubicBezTo>
                <a:cubicBezTo>
                  <a:pt x="1212" y="1637"/>
                  <a:pt x="1212" y="1637"/>
                  <a:pt x="1212" y="1637"/>
                </a:cubicBezTo>
                <a:cubicBezTo>
                  <a:pt x="1483" y="1637"/>
                  <a:pt x="1483" y="1637"/>
                  <a:pt x="1483" y="1637"/>
                </a:cubicBezTo>
                <a:cubicBezTo>
                  <a:pt x="1479" y="1641"/>
                  <a:pt x="1479" y="1641"/>
                  <a:pt x="1479" y="1641"/>
                </a:cubicBezTo>
                <a:cubicBezTo>
                  <a:pt x="1410" y="1783"/>
                  <a:pt x="1317" y="1876"/>
                  <a:pt x="1212" y="1900"/>
                </a:cubicBezTo>
                <a:close/>
                <a:moveTo>
                  <a:pt x="1729" y="1641"/>
                </a:moveTo>
                <a:cubicBezTo>
                  <a:pt x="1664" y="1722"/>
                  <a:pt x="1580" y="1783"/>
                  <a:pt x="1487" y="1831"/>
                </a:cubicBezTo>
                <a:cubicBezTo>
                  <a:pt x="1479" y="1835"/>
                  <a:pt x="1479" y="1835"/>
                  <a:pt x="1479" y="1835"/>
                </a:cubicBezTo>
                <a:cubicBezTo>
                  <a:pt x="1483" y="1827"/>
                  <a:pt x="1483" y="1827"/>
                  <a:pt x="1483" y="1827"/>
                </a:cubicBezTo>
                <a:cubicBezTo>
                  <a:pt x="1527" y="1775"/>
                  <a:pt x="1563" y="1710"/>
                  <a:pt x="1592" y="1637"/>
                </a:cubicBezTo>
                <a:cubicBezTo>
                  <a:pt x="1596" y="1637"/>
                  <a:pt x="1596" y="1637"/>
                  <a:pt x="1596" y="1637"/>
                </a:cubicBezTo>
                <a:cubicBezTo>
                  <a:pt x="1733" y="1637"/>
                  <a:pt x="1733" y="1637"/>
                  <a:pt x="1733" y="1637"/>
                </a:cubicBezTo>
                <a:cubicBezTo>
                  <a:pt x="1729" y="1641"/>
                  <a:pt x="1729" y="1641"/>
                  <a:pt x="1729" y="1641"/>
                </a:cubicBezTo>
                <a:cubicBezTo>
                  <a:pt x="1729" y="1641"/>
                  <a:pt x="1729" y="1641"/>
                  <a:pt x="1729" y="1641"/>
                </a:cubicBezTo>
                <a:close/>
                <a:moveTo>
                  <a:pt x="1902" y="1214"/>
                </a:moveTo>
                <a:cubicBezTo>
                  <a:pt x="1894" y="1327"/>
                  <a:pt x="1862" y="1436"/>
                  <a:pt x="1806" y="1532"/>
                </a:cubicBezTo>
                <a:cubicBezTo>
                  <a:pt x="1806" y="1536"/>
                  <a:pt x="1806" y="1536"/>
                  <a:pt x="1806" y="1536"/>
                </a:cubicBezTo>
                <a:cubicBezTo>
                  <a:pt x="1632" y="1536"/>
                  <a:pt x="1632" y="1536"/>
                  <a:pt x="1632" y="1536"/>
                </a:cubicBezTo>
                <a:cubicBezTo>
                  <a:pt x="1632" y="1532"/>
                  <a:pt x="1632" y="1532"/>
                  <a:pt x="1632" y="1532"/>
                </a:cubicBezTo>
                <a:cubicBezTo>
                  <a:pt x="1660" y="1432"/>
                  <a:pt x="1680" y="1327"/>
                  <a:pt x="1684" y="1214"/>
                </a:cubicBezTo>
                <a:cubicBezTo>
                  <a:pt x="1684" y="1214"/>
                  <a:pt x="1684" y="1214"/>
                  <a:pt x="1684" y="1214"/>
                </a:cubicBezTo>
                <a:cubicBezTo>
                  <a:pt x="1902" y="1214"/>
                  <a:pt x="1902" y="1214"/>
                  <a:pt x="1902" y="1214"/>
                </a:cubicBezTo>
                <a:close/>
                <a:moveTo>
                  <a:pt x="1806" y="790"/>
                </a:moveTo>
                <a:cubicBezTo>
                  <a:pt x="1862" y="887"/>
                  <a:pt x="1894" y="996"/>
                  <a:pt x="1902" y="1109"/>
                </a:cubicBezTo>
                <a:cubicBezTo>
                  <a:pt x="1902" y="1109"/>
                  <a:pt x="1902" y="1109"/>
                  <a:pt x="1902" y="1109"/>
                </a:cubicBezTo>
                <a:cubicBezTo>
                  <a:pt x="1684" y="1109"/>
                  <a:pt x="1684" y="1109"/>
                  <a:pt x="1684" y="1109"/>
                </a:cubicBezTo>
                <a:cubicBezTo>
                  <a:pt x="1684" y="1109"/>
                  <a:pt x="1684" y="1109"/>
                  <a:pt x="1684" y="1109"/>
                </a:cubicBezTo>
                <a:cubicBezTo>
                  <a:pt x="1680" y="996"/>
                  <a:pt x="1660" y="891"/>
                  <a:pt x="1632" y="790"/>
                </a:cubicBezTo>
                <a:cubicBezTo>
                  <a:pt x="1632" y="786"/>
                  <a:pt x="1632" y="786"/>
                  <a:pt x="1632" y="786"/>
                </a:cubicBezTo>
                <a:cubicBezTo>
                  <a:pt x="1806" y="786"/>
                  <a:pt x="1806" y="786"/>
                  <a:pt x="1806" y="786"/>
                </a:cubicBezTo>
                <a:cubicBezTo>
                  <a:pt x="1806" y="790"/>
                  <a:pt x="1806" y="790"/>
                  <a:pt x="1806" y="790"/>
                </a:cubicBezTo>
                <a:cubicBezTo>
                  <a:pt x="1806" y="790"/>
                  <a:pt x="1806" y="790"/>
                  <a:pt x="1806" y="790"/>
                </a:cubicBezTo>
                <a:close/>
                <a:moveTo>
                  <a:pt x="0" y="0"/>
                </a:moveTo>
                <a:cubicBezTo>
                  <a:pt x="0" y="2322"/>
                  <a:pt x="0" y="2322"/>
                  <a:pt x="0" y="2322"/>
                </a:cubicBezTo>
                <a:cubicBezTo>
                  <a:pt x="2322" y="2322"/>
                  <a:pt x="2322" y="2322"/>
                  <a:pt x="2322" y="2322"/>
                </a:cubicBezTo>
                <a:cubicBezTo>
                  <a:pt x="2322" y="0"/>
                  <a:pt x="2322" y="0"/>
                  <a:pt x="23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223" y="2222"/>
                </a:moveTo>
                <a:cubicBezTo>
                  <a:pt x="102" y="2222"/>
                  <a:pt x="102" y="2222"/>
                  <a:pt x="102" y="2222"/>
                </a:cubicBezTo>
                <a:cubicBezTo>
                  <a:pt x="102" y="102"/>
                  <a:pt x="102" y="102"/>
                  <a:pt x="102" y="102"/>
                </a:cubicBezTo>
                <a:cubicBezTo>
                  <a:pt x="2223" y="102"/>
                  <a:pt x="2223" y="102"/>
                  <a:pt x="2223" y="102"/>
                </a:cubicBezTo>
                <a:cubicBezTo>
                  <a:pt x="2223" y="2222"/>
                  <a:pt x="2223" y="2222"/>
                  <a:pt x="2223" y="2222"/>
                </a:cubicBezTo>
                <a:cubicBezTo>
                  <a:pt x="2223" y="2222"/>
                  <a:pt x="2223" y="2222"/>
                  <a:pt x="2223" y="2222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SzPts val="1000"/>
            </a:pPr>
            <a:endParaRPr sz="1333" dirty="0"/>
          </a:p>
        </p:txBody>
      </p:sp>
      <p:sp>
        <p:nvSpPr>
          <p:cNvPr id="170" name="Google Shape;9725;p453">
            <a:extLst>
              <a:ext uri="{FF2B5EF4-FFF2-40B4-BE49-F238E27FC236}">
                <a16:creationId xmlns:a16="http://schemas.microsoft.com/office/drawing/2014/main" id="{5DE09CD7-D8B4-4F33-BD04-80E4C3C70F05}"/>
              </a:ext>
            </a:extLst>
          </p:cNvPr>
          <p:cNvSpPr/>
          <p:nvPr/>
        </p:nvSpPr>
        <p:spPr>
          <a:xfrm>
            <a:off x="8910613" y="5067224"/>
            <a:ext cx="2697200" cy="328400"/>
          </a:xfrm>
          <a:prstGeom prst="snip2DiagRect">
            <a:avLst>
              <a:gd name="adj1" fmla="val 0"/>
              <a:gd name="adj2" fmla="val 35739"/>
            </a:avLst>
          </a:prstGeom>
          <a:solidFill>
            <a:schemeClr val="accent6"/>
          </a:solidFill>
          <a:ln>
            <a:noFill/>
          </a:ln>
        </p:spPr>
        <p:txBody>
          <a:bodyPr spcFirstLastPara="1" wrap="square" lIns="243833" tIns="121900" rIns="121900" bIns="121900" anchor="ctr" anchorCtr="0">
            <a:noAutofit/>
          </a:bodyPr>
          <a:lstStyle/>
          <a:p>
            <a:r>
              <a:rPr lang="en" sz="1200" b="1" dirty="0">
                <a:solidFill>
                  <a:schemeClr val="lt1"/>
                </a:solidFill>
                <a:latin typeface="Georgia" panose="02040502050405020303" pitchFamily="18" charset="0"/>
              </a:rPr>
              <a:t>Investors Lens</a:t>
            </a:r>
            <a:endParaRPr sz="1200" b="1" dirty="0">
              <a:solidFill>
                <a:schemeClr val="lt1"/>
              </a:solidFill>
              <a:latin typeface="Georgia" panose="02040502050405020303" pitchFamily="18" charset="0"/>
            </a:endParaRPr>
          </a:p>
        </p:txBody>
      </p:sp>
      <p:sp>
        <p:nvSpPr>
          <p:cNvPr id="171" name="Google Shape;9726;p453">
            <a:extLst>
              <a:ext uri="{FF2B5EF4-FFF2-40B4-BE49-F238E27FC236}">
                <a16:creationId xmlns:a16="http://schemas.microsoft.com/office/drawing/2014/main" id="{F20F7094-3F9C-488C-A5C6-F054ADA0336C}"/>
              </a:ext>
            </a:extLst>
          </p:cNvPr>
          <p:cNvSpPr/>
          <p:nvPr/>
        </p:nvSpPr>
        <p:spPr>
          <a:xfrm>
            <a:off x="8645180" y="4942411"/>
            <a:ext cx="453200" cy="4532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516F970-93AA-4944-8157-4180D1E7C251}"/>
              </a:ext>
            </a:extLst>
          </p:cNvPr>
          <p:cNvGrpSpPr/>
          <p:nvPr/>
        </p:nvGrpSpPr>
        <p:grpSpPr>
          <a:xfrm>
            <a:off x="8494962" y="5516681"/>
            <a:ext cx="3243480" cy="557980"/>
            <a:chOff x="7654818" y="5444547"/>
            <a:chExt cx="4971167" cy="1073091"/>
          </a:xfrm>
        </p:grpSpPr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0E4379F7-0DD6-4BB1-9913-AFC608E879FF}"/>
                </a:ext>
              </a:extLst>
            </p:cNvPr>
            <p:cNvSpPr/>
            <p:nvPr/>
          </p:nvSpPr>
          <p:spPr bwMode="ltGray">
            <a:xfrm>
              <a:off x="8185739" y="5668639"/>
              <a:ext cx="631519" cy="631519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4" name="Oval 35">
              <a:extLst>
                <a:ext uri="{FF2B5EF4-FFF2-40B4-BE49-F238E27FC236}">
                  <a16:creationId xmlns:a16="http://schemas.microsoft.com/office/drawing/2014/main" id="{54908B7E-DC75-45C4-867C-A9BF4423BD65}"/>
                </a:ext>
              </a:extLst>
            </p:cNvPr>
            <p:cNvSpPr/>
            <p:nvPr/>
          </p:nvSpPr>
          <p:spPr bwMode="ltGray">
            <a:xfrm>
              <a:off x="9826112" y="5666942"/>
              <a:ext cx="631519" cy="631519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85" name="Oval 38">
              <a:extLst>
                <a:ext uri="{FF2B5EF4-FFF2-40B4-BE49-F238E27FC236}">
                  <a16:creationId xmlns:a16="http://schemas.microsoft.com/office/drawing/2014/main" id="{616CAC15-7658-4192-ABF2-6921DC604D54}"/>
                </a:ext>
              </a:extLst>
            </p:cNvPr>
            <p:cNvSpPr/>
            <p:nvPr/>
          </p:nvSpPr>
          <p:spPr bwMode="ltGray">
            <a:xfrm>
              <a:off x="11479092" y="5666942"/>
              <a:ext cx="631519" cy="631519"/>
            </a:xfrm>
            <a:prstGeom prst="rect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11381089-2A2E-4D06-8D72-331872233836}"/>
                </a:ext>
              </a:extLst>
            </p:cNvPr>
            <p:cNvGrpSpPr/>
            <p:nvPr/>
          </p:nvGrpSpPr>
          <p:grpSpPr>
            <a:xfrm>
              <a:off x="7654818" y="5444547"/>
              <a:ext cx="1676558" cy="1073091"/>
              <a:chOff x="604364" y="2649627"/>
              <a:chExt cx="1911459" cy="1223440"/>
            </a:xfrm>
          </p:grpSpPr>
          <p:sp>
            <p:nvSpPr>
              <p:cNvPr id="187" name="Frame 186">
                <a:extLst>
                  <a:ext uri="{FF2B5EF4-FFF2-40B4-BE49-F238E27FC236}">
                    <a16:creationId xmlns:a16="http://schemas.microsoft.com/office/drawing/2014/main" id="{9A6D4DA9-2096-49A5-9970-FCFBE962FCBF}"/>
                  </a:ext>
                </a:extLst>
              </p:cNvPr>
              <p:cNvSpPr/>
              <p:nvPr/>
            </p:nvSpPr>
            <p:spPr>
              <a:xfrm>
                <a:off x="954212" y="2649627"/>
                <a:ext cx="1223440" cy="1223440"/>
              </a:xfrm>
              <a:prstGeom prst="frame">
                <a:avLst>
                  <a:gd name="adj1" fmla="val 14698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Chevron 4">
                <a:extLst>
                  <a:ext uri="{FF2B5EF4-FFF2-40B4-BE49-F238E27FC236}">
                    <a16:creationId xmlns:a16="http://schemas.microsoft.com/office/drawing/2014/main" id="{1A7FDCA4-F3FD-4458-93F9-EDD55DC0DCEE}"/>
                  </a:ext>
                </a:extLst>
              </p:cNvPr>
              <p:cNvSpPr/>
              <p:nvPr/>
            </p:nvSpPr>
            <p:spPr>
              <a:xfrm>
                <a:off x="604364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Chevron 43">
                <a:extLst>
                  <a:ext uri="{FF2B5EF4-FFF2-40B4-BE49-F238E27FC236}">
                    <a16:creationId xmlns:a16="http://schemas.microsoft.com/office/drawing/2014/main" id="{1C72D40C-2659-43C6-AE9B-A4FDD4B677C3}"/>
                  </a:ext>
                </a:extLst>
              </p:cNvPr>
              <p:cNvSpPr/>
              <p:nvPr/>
            </p:nvSpPr>
            <p:spPr>
              <a:xfrm>
                <a:off x="2011823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C2929804-93EE-4858-AF59-605470E78EAE}"/>
                </a:ext>
              </a:extLst>
            </p:cNvPr>
            <p:cNvGrpSpPr/>
            <p:nvPr/>
          </p:nvGrpSpPr>
          <p:grpSpPr>
            <a:xfrm>
              <a:off x="9302123" y="5444547"/>
              <a:ext cx="1676558" cy="1073091"/>
              <a:chOff x="604364" y="2649627"/>
              <a:chExt cx="1911459" cy="1223440"/>
            </a:xfrm>
          </p:grpSpPr>
          <p:sp>
            <p:nvSpPr>
              <p:cNvPr id="191" name="Frame 190">
                <a:extLst>
                  <a:ext uri="{FF2B5EF4-FFF2-40B4-BE49-F238E27FC236}">
                    <a16:creationId xmlns:a16="http://schemas.microsoft.com/office/drawing/2014/main" id="{E2FDB230-985A-4988-ABC0-ECFAF9D3060D}"/>
                  </a:ext>
                </a:extLst>
              </p:cNvPr>
              <p:cNvSpPr/>
              <p:nvPr/>
            </p:nvSpPr>
            <p:spPr>
              <a:xfrm>
                <a:off x="954212" y="2649627"/>
                <a:ext cx="1223440" cy="1223440"/>
              </a:xfrm>
              <a:prstGeom prst="frame">
                <a:avLst>
                  <a:gd name="adj1" fmla="val 14698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Chevron 40">
                <a:extLst>
                  <a:ext uri="{FF2B5EF4-FFF2-40B4-BE49-F238E27FC236}">
                    <a16:creationId xmlns:a16="http://schemas.microsoft.com/office/drawing/2014/main" id="{4DA3CBDD-CDAE-49F7-9CCA-3171FCD3B3D4}"/>
                  </a:ext>
                </a:extLst>
              </p:cNvPr>
              <p:cNvSpPr/>
              <p:nvPr/>
            </p:nvSpPr>
            <p:spPr>
              <a:xfrm>
                <a:off x="604364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Chevron 42">
                <a:extLst>
                  <a:ext uri="{FF2B5EF4-FFF2-40B4-BE49-F238E27FC236}">
                    <a16:creationId xmlns:a16="http://schemas.microsoft.com/office/drawing/2014/main" id="{7B6622BD-7BE8-44C8-88E4-C41A341A23AE}"/>
                  </a:ext>
                </a:extLst>
              </p:cNvPr>
              <p:cNvSpPr/>
              <p:nvPr/>
            </p:nvSpPr>
            <p:spPr>
              <a:xfrm>
                <a:off x="2011823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81AD580D-2FE1-4267-8CE5-94F98CCE2B69}"/>
                </a:ext>
              </a:extLst>
            </p:cNvPr>
            <p:cNvGrpSpPr/>
            <p:nvPr/>
          </p:nvGrpSpPr>
          <p:grpSpPr>
            <a:xfrm>
              <a:off x="10949427" y="5444547"/>
              <a:ext cx="1676558" cy="1073091"/>
              <a:chOff x="604364" y="2649627"/>
              <a:chExt cx="1911459" cy="1223440"/>
            </a:xfrm>
          </p:grpSpPr>
          <p:sp>
            <p:nvSpPr>
              <p:cNvPr id="195" name="Frame 194">
                <a:extLst>
                  <a:ext uri="{FF2B5EF4-FFF2-40B4-BE49-F238E27FC236}">
                    <a16:creationId xmlns:a16="http://schemas.microsoft.com/office/drawing/2014/main" id="{44062F47-05F3-46CD-B47B-0C88DC965674}"/>
                  </a:ext>
                </a:extLst>
              </p:cNvPr>
              <p:cNvSpPr/>
              <p:nvPr/>
            </p:nvSpPr>
            <p:spPr>
              <a:xfrm>
                <a:off x="954212" y="2649627"/>
                <a:ext cx="1223440" cy="1223440"/>
              </a:xfrm>
              <a:prstGeom prst="frame">
                <a:avLst>
                  <a:gd name="adj1" fmla="val 14698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6" name="Chevron 48">
                <a:extLst>
                  <a:ext uri="{FF2B5EF4-FFF2-40B4-BE49-F238E27FC236}">
                    <a16:creationId xmlns:a16="http://schemas.microsoft.com/office/drawing/2014/main" id="{BBF8B1A2-4412-4B02-B7EB-37007DB6DE20}"/>
                  </a:ext>
                </a:extLst>
              </p:cNvPr>
              <p:cNvSpPr/>
              <p:nvPr/>
            </p:nvSpPr>
            <p:spPr>
              <a:xfrm>
                <a:off x="604364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Chevron 61">
                <a:extLst>
                  <a:ext uri="{FF2B5EF4-FFF2-40B4-BE49-F238E27FC236}">
                    <a16:creationId xmlns:a16="http://schemas.microsoft.com/office/drawing/2014/main" id="{367719A4-1BE0-4EE0-A919-89F7F5A8B30B}"/>
                  </a:ext>
                </a:extLst>
              </p:cNvPr>
              <p:cNvSpPr/>
              <p:nvPr/>
            </p:nvSpPr>
            <p:spPr>
              <a:xfrm>
                <a:off x="2011823" y="3153564"/>
                <a:ext cx="504000" cy="252000"/>
              </a:xfrm>
              <a:prstGeom prst="chevron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8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8" name="Group 147">
              <a:extLst>
                <a:ext uri="{FF2B5EF4-FFF2-40B4-BE49-F238E27FC236}">
                  <a16:creationId xmlns:a16="http://schemas.microsoft.com/office/drawing/2014/main" id="{7CBFCC6E-4E99-4AAF-A105-6E397DE0E0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269154" y="5746764"/>
              <a:ext cx="467491" cy="467421"/>
              <a:chOff x="986" y="0"/>
              <a:chExt cx="6673" cy="6672"/>
            </a:xfrm>
            <a:solidFill>
              <a:schemeClr val="bg1"/>
            </a:solidFill>
          </p:grpSpPr>
          <p:sp>
            <p:nvSpPr>
              <p:cNvPr id="199" name="Freeform 148">
                <a:extLst>
                  <a:ext uri="{FF2B5EF4-FFF2-40B4-BE49-F238E27FC236}">
                    <a16:creationId xmlns:a16="http://schemas.microsoft.com/office/drawing/2014/main" id="{E518E4D9-3804-4DDC-BE18-8960805937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80" y="2182"/>
                <a:ext cx="1485" cy="2310"/>
              </a:xfrm>
              <a:custGeom>
                <a:avLst/>
                <a:gdLst>
                  <a:gd name="T0" fmla="*/ 358 w 1485"/>
                  <a:gd name="T1" fmla="*/ 1962 h 2310"/>
                  <a:gd name="T2" fmla="*/ 404 w 1485"/>
                  <a:gd name="T3" fmla="*/ 2108 h 2310"/>
                  <a:gd name="T4" fmla="*/ 498 w 1485"/>
                  <a:gd name="T5" fmla="*/ 2222 h 2310"/>
                  <a:gd name="T6" fmla="*/ 628 w 1485"/>
                  <a:gd name="T7" fmla="*/ 2292 h 2310"/>
                  <a:gd name="T8" fmla="*/ 743 w 1485"/>
                  <a:gd name="T9" fmla="*/ 2310 h 2310"/>
                  <a:gd name="T10" fmla="*/ 893 w 1485"/>
                  <a:gd name="T11" fmla="*/ 2280 h 2310"/>
                  <a:gd name="T12" fmla="*/ 1015 w 1485"/>
                  <a:gd name="T13" fmla="*/ 2196 h 2310"/>
                  <a:gd name="T14" fmla="*/ 1097 w 1485"/>
                  <a:gd name="T15" fmla="*/ 2074 h 2310"/>
                  <a:gd name="T16" fmla="*/ 1129 w 1485"/>
                  <a:gd name="T17" fmla="*/ 1924 h 2310"/>
                  <a:gd name="T18" fmla="*/ 1207 w 1485"/>
                  <a:gd name="T19" fmla="*/ 1320 h 2310"/>
                  <a:gd name="T20" fmla="*/ 1337 w 1485"/>
                  <a:gd name="T21" fmla="*/ 1184 h 2310"/>
                  <a:gd name="T22" fmla="*/ 1429 w 1485"/>
                  <a:gd name="T23" fmla="*/ 1022 h 2310"/>
                  <a:gd name="T24" fmla="*/ 1479 w 1485"/>
                  <a:gd name="T25" fmla="*/ 838 h 2310"/>
                  <a:gd name="T26" fmla="*/ 1483 w 1485"/>
                  <a:gd name="T27" fmla="*/ 704 h 2310"/>
                  <a:gd name="T28" fmla="*/ 1461 w 1485"/>
                  <a:gd name="T29" fmla="*/ 556 h 2310"/>
                  <a:gd name="T30" fmla="*/ 1411 w 1485"/>
                  <a:gd name="T31" fmla="*/ 420 h 2310"/>
                  <a:gd name="T32" fmla="*/ 1337 w 1485"/>
                  <a:gd name="T33" fmla="*/ 298 h 2310"/>
                  <a:gd name="T34" fmla="*/ 1241 w 1485"/>
                  <a:gd name="T35" fmla="*/ 192 h 2310"/>
                  <a:gd name="T36" fmla="*/ 1127 w 1485"/>
                  <a:gd name="T37" fmla="*/ 106 h 2310"/>
                  <a:gd name="T38" fmla="*/ 997 w 1485"/>
                  <a:gd name="T39" fmla="*/ 44 h 2310"/>
                  <a:gd name="T40" fmla="*/ 855 w 1485"/>
                  <a:gd name="T41" fmla="*/ 8 h 2310"/>
                  <a:gd name="T42" fmla="*/ 743 w 1485"/>
                  <a:gd name="T43" fmla="*/ 0 h 2310"/>
                  <a:gd name="T44" fmla="*/ 594 w 1485"/>
                  <a:gd name="T45" fmla="*/ 14 h 2310"/>
                  <a:gd name="T46" fmla="*/ 454 w 1485"/>
                  <a:gd name="T47" fmla="*/ 58 h 2310"/>
                  <a:gd name="T48" fmla="*/ 328 w 1485"/>
                  <a:gd name="T49" fmla="*/ 126 h 2310"/>
                  <a:gd name="T50" fmla="*/ 218 w 1485"/>
                  <a:gd name="T51" fmla="*/ 216 h 2310"/>
                  <a:gd name="T52" fmla="*/ 128 w 1485"/>
                  <a:gd name="T53" fmla="*/ 326 h 2310"/>
                  <a:gd name="T54" fmla="*/ 60 w 1485"/>
                  <a:gd name="T55" fmla="*/ 452 h 2310"/>
                  <a:gd name="T56" fmla="*/ 16 w 1485"/>
                  <a:gd name="T57" fmla="*/ 592 h 2310"/>
                  <a:gd name="T58" fmla="*/ 0 w 1485"/>
                  <a:gd name="T59" fmla="*/ 742 h 2310"/>
                  <a:gd name="T60" fmla="*/ 14 w 1485"/>
                  <a:gd name="T61" fmla="*/ 886 h 2310"/>
                  <a:gd name="T62" fmla="*/ 74 w 1485"/>
                  <a:gd name="T63" fmla="*/ 1064 h 2310"/>
                  <a:gd name="T64" fmla="*/ 178 w 1485"/>
                  <a:gd name="T65" fmla="*/ 1222 h 2310"/>
                  <a:gd name="T66" fmla="*/ 316 w 1485"/>
                  <a:gd name="T67" fmla="*/ 1348 h 2310"/>
                  <a:gd name="T68" fmla="*/ 743 w 1485"/>
                  <a:gd name="T69" fmla="*/ 284 h 2310"/>
                  <a:gd name="T70" fmla="*/ 921 w 1485"/>
                  <a:gd name="T71" fmla="*/ 320 h 2310"/>
                  <a:gd name="T72" fmla="*/ 1065 w 1485"/>
                  <a:gd name="T73" fmla="*/ 418 h 2310"/>
                  <a:gd name="T74" fmla="*/ 1165 w 1485"/>
                  <a:gd name="T75" fmla="*/ 564 h 2310"/>
                  <a:gd name="T76" fmla="*/ 1201 w 1485"/>
                  <a:gd name="T77" fmla="*/ 742 h 2310"/>
                  <a:gd name="T78" fmla="*/ 1189 w 1485"/>
                  <a:gd name="T79" fmla="*/ 840 h 2310"/>
                  <a:gd name="T80" fmla="*/ 1143 w 1485"/>
                  <a:gd name="T81" fmla="*/ 962 h 2310"/>
                  <a:gd name="T82" fmla="*/ 1065 w 1485"/>
                  <a:gd name="T83" fmla="*/ 1066 h 2310"/>
                  <a:gd name="T84" fmla="*/ 959 w 1485"/>
                  <a:gd name="T85" fmla="*/ 1144 h 2310"/>
                  <a:gd name="T86" fmla="*/ 843 w 1485"/>
                  <a:gd name="T87" fmla="*/ 1924 h 2310"/>
                  <a:gd name="T88" fmla="*/ 813 w 1485"/>
                  <a:gd name="T89" fmla="*/ 1994 h 2310"/>
                  <a:gd name="T90" fmla="*/ 743 w 1485"/>
                  <a:gd name="T91" fmla="*/ 2026 h 2310"/>
                  <a:gd name="T92" fmla="*/ 686 w 1485"/>
                  <a:gd name="T93" fmla="*/ 2008 h 2310"/>
                  <a:gd name="T94" fmla="*/ 644 w 1485"/>
                  <a:gd name="T95" fmla="*/ 1944 h 2310"/>
                  <a:gd name="T96" fmla="*/ 558 w 1485"/>
                  <a:gd name="T97" fmla="*/ 1160 h 2310"/>
                  <a:gd name="T98" fmla="*/ 444 w 1485"/>
                  <a:gd name="T99" fmla="*/ 1088 h 2310"/>
                  <a:gd name="T100" fmla="*/ 360 w 1485"/>
                  <a:gd name="T101" fmla="*/ 990 h 2310"/>
                  <a:gd name="T102" fmla="*/ 304 w 1485"/>
                  <a:gd name="T103" fmla="*/ 872 h 2310"/>
                  <a:gd name="T104" fmla="*/ 286 w 1485"/>
                  <a:gd name="T105" fmla="*/ 742 h 2310"/>
                  <a:gd name="T106" fmla="*/ 306 w 1485"/>
                  <a:gd name="T107" fmla="*/ 606 h 2310"/>
                  <a:gd name="T108" fmla="*/ 390 w 1485"/>
                  <a:gd name="T109" fmla="*/ 450 h 2310"/>
                  <a:gd name="T110" fmla="*/ 524 w 1485"/>
                  <a:gd name="T111" fmla="*/ 340 h 2310"/>
                  <a:gd name="T112" fmla="*/ 696 w 1485"/>
                  <a:gd name="T113" fmla="*/ 286 h 2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85" h="2310">
                    <a:moveTo>
                      <a:pt x="356" y="1374"/>
                    </a:moveTo>
                    <a:lnTo>
                      <a:pt x="356" y="1924"/>
                    </a:lnTo>
                    <a:lnTo>
                      <a:pt x="356" y="1924"/>
                    </a:lnTo>
                    <a:lnTo>
                      <a:pt x="358" y="1962"/>
                    </a:lnTo>
                    <a:lnTo>
                      <a:pt x="364" y="2002"/>
                    </a:lnTo>
                    <a:lnTo>
                      <a:pt x="374" y="2038"/>
                    </a:lnTo>
                    <a:lnTo>
                      <a:pt x="388" y="2074"/>
                    </a:lnTo>
                    <a:lnTo>
                      <a:pt x="404" y="2108"/>
                    </a:lnTo>
                    <a:lnTo>
                      <a:pt x="424" y="2140"/>
                    </a:lnTo>
                    <a:lnTo>
                      <a:pt x="446" y="2168"/>
                    </a:lnTo>
                    <a:lnTo>
                      <a:pt x="470" y="2196"/>
                    </a:lnTo>
                    <a:lnTo>
                      <a:pt x="498" y="2222"/>
                    </a:lnTo>
                    <a:lnTo>
                      <a:pt x="528" y="2244"/>
                    </a:lnTo>
                    <a:lnTo>
                      <a:pt x="560" y="2262"/>
                    </a:lnTo>
                    <a:lnTo>
                      <a:pt x="592" y="2280"/>
                    </a:lnTo>
                    <a:lnTo>
                      <a:pt x="628" y="2292"/>
                    </a:lnTo>
                    <a:lnTo>
                      <a:pt x="666" y="2302"/>
                    </a:lnTo>
                    <a:lnTo>
                      <a:pt x="704" y="2308"/>
                    </a:lnTo>
                    <a:lnTo>
                      <a:pt x="743" y="2310"/>
                    </a:lnTo>
                    <a:lnTo>
                      <a:pt x="743" y="2310"/>
                    </a:lnTo>
                    <a:lnTo>
                      <a:pt x="781" y="2308"/>
                    </a:lnTo>
                    <a:lnTo>
                      <a:pt x="819" y="2302"/>
                    </a:lnTo>
                    <a:lnTo>
                      <a:pt x="857" y="2292"/>
                    </a:lnTo>
                    <a:lnTo>
                      <a:pt x="893" y="2280"/>
                    </a:lnTo>
                    <a:lnTo>
                      <a:pt x="927" y="2262"/>
                    </a:lnTo>
                    <a:lnTo>
                      <a:pt x="957" y="2244"/>
                    </a:lnTo>
                    <a:lnTo>
                      <a:pt x="987" y="2222"/>
                    </a:lnTo>
                    <a:lnTo>
                      <a:pt x="1015" y="2196"/>
                    </a:lnTo>
                    <a:lnTo>
                      <a:pt x="1039" y="2168"/>
                    </a:lnTo>
                    <a:lnTo>
                      <a:pt x="1063" y="2140"/>
                    </a:lnTo>
                    <a:lnTo>
                      <a:pt x="1081" y="2108"/>
                    </a:lnTo>
                    <a:lnTo>
                      <a:pt x="1097" y="2074"/>
                    </a:lnTo>
                    <a:lnTo>
                      <a:pt x="1111" y="2038"/>
                    </a:lnTo>
                    <a:lnTo>
                      <a:pt x="1121" y="2002"/>
                    </a:lnTo>
                    <a:lnTo>
                      <a:pt x="1127" y="1962"/>
                    </a:lnTo>
                    <a:lnTo>
                      <a:pt x="1129" y="1924"/>
                    </a:lnTo>
                    <a:lnTo>
                      <a:pt x="1129" y="1374"/>
                    </a:lnTo>
                    <a:lnTo>
                      <a:pt x="1129" y="1374"/>
                    </a:lnTo>
                    <a:lnTo>
                      <a:pt x="1169" y="1348"/>
                    </a:lnTo>
                    <a:lnTo>
                      <a:pt x="1207" y="1320"/>
                    </a:lnTo>
                    <a:lnTo>
                      <a:pt x="1243" y="1290"/>
                    </a:lnTo>
                    <a:lnTo>
                      <a:pt x="1277" y="1256"/>
                    </a:lnTo>
                    <a:lnTo>
                      <a:pt x="1309" y="1222"/>
                    </a:lnTo>
                    <a:lnTo>
                      <a:pt x="1337" y="1184"/>
                    </a:lnTo>
                    <a:lnTo>
                      <a:pt x="1365" y="1146"/>
                    </a:lnTo>
                    <a:lnTo>
                      <a:pt x="1389" y="1106"/>
                    </a:lnTo>
                    <a:lnTo>
                      <a:pt x="1411" y="1064"/>
                    </a:lnTo>
                    <a:lnTo>
                      <a:pt x="1429" y="1022"/>
                    </a:lnTo>
                    <a:lnTo>
                      <a:pt x="1447" y="976"/>
                    </a:lnTo>
                    <a:lnTo>
                      <a:pt x="1459" y="932"/>
                    </a:lnTo>
                    <a:lnTo>
                      <a:pt x="1471" y="886"/>
                    </a:lnTo>
                    <a:lnTo>
                      <a:pt x="1479" y="838"/>
                    </a:lnTo>
                    <a:lnTo>
                      <a:pt x="1483" y="790"/>
                    </a:lnTo>
                    <a:lnTo>
                      <a:pt x="1485" y="742"/>
                    </a:lnTo>
                    <a:lnTo>
                      <a:pt x="1485" y="742"/>
                    </a:lnTo>
                    <a:lnTo>
                      <a:pt x="1483" y="704"/>
                    </a:lnTo>
                    <a:lnTo>
                      <a:pt x="1481" y="666"/>
                    </a:lnTo>
                    <a:lnTo>
                      <a:pt x="1477" y="628"/>
                    </a:lnTo>
                    <a:lnTo>
                      <a:pt x="1469" y="592"/>
                    </a:lnTo>
                    <a:lnTo>
                      <a:pt x="1461" y="556"/>
                    </a:lnTo>
                    <a:lnTo>
                      <a:pt x="1451" y="522"/>
                    </a:lnTo>
                    <a:lnTo>
                      <a:pt x="1439" y="486"/>
                    </a:lnTo>
                    <a:lnTo>
                      <a:pt x="1427" y="452"/>
                    </a:lnTo>
                    <a:lnTo>
                      <a:pt x="1411" y="420"/>
                    </a:lnTo>
                    <a:lnTo>
                      <a:pt x="1395" y="388"/>
                    </a:lnTo>
                    <a:lnTo>
                      <a:pt x="1377" y="356"/>
                    </a:lnTo>
                    <a:lnTo>
                      <a:pt x="1357" y="326"/>
                    </a:lnTo>
                    <a:lnTo>
                      <a:pt x="1337" y="298"/>
                    </a:lnTo>
                    <a:lnTo>
                      <a:pt x="1315" y="270"/>
                    </a:lnTo>
                    <a:lnTo>
                      <a:pt x="1291" y="242"/>
                    </a:lnTo>
                    <a:lnTo>
                      <a:pt x="1267" y="216"/>
                    </a:lnTo>
                    <a:lnTo>
                      <a:pt x="1241" y="192"/>
                    </a:lnTo>
                    <a:lnTo>
                      <a:pt x="1215" y="168"/>
                    </a:lnTo>
                    <a:lnTo>
                      <a:pt x="1187" y="146"/>
                    </a:lnTo>
                    <a:lnTo>
                      <a:pt x="1157" y="126"/>
                    </a:lnTo>
                    <a:lnTo>
                      <a:pt x="1127" y="106"/>
                    </a:lnTo>
                    <a:lnTo>
                      <a:pt x="1095" y="88"/>
                    </a:lnTo>
                    <a:lnTo>
                      <a:pt x="1063" y="72"/>
                    </a:lnTo>
                    <a:lnTo>
                      <a:pt x="1031" y="58"/>
                    </a:lnTo>
                    <a:lnTo>
                      <a:pt x="997" y="44"/>
                    </a:lnTo>
                    <a:lnTo>
                      <a:pt x="963" y="32"/>
                    </a:lnTo>
                    <a:lnTo>
                      <a:pt x="927" y="22"/>
                    </a:lnTo>
                    <a:lnTo>
                      <a:pt x="891" y="14"/>
                    </a:lnTo>
                    <a:lnTo>
                      <a:pt x="855" y="8"/>
                    </a:lnTo>
                    <a:lnTo>
                      <a:pt x="817" y="2"/>
                    </a:lnTo>
                    <a:lnTo>
                      <a:pt x="781" y="0"/>
                    </a:lnTo>
                    <a:lnTo>
                      <a:pt x="743" y="0"/>
                    </a:lnTo>
                    <a:lnTo>
                      <a:pt x="743" y="0"/>
                    </a:lnTo>
                    <a:lnTo>
                      <a:pt x="704" y="0"/>
                    </a:lnTo>
                    <a:lnTo>
                      <a:pt x="668" y="2"/>
                    </a:lnTo>
                    <a:lnTo>
                      <a:pt x="630" y="8"/>
                    </a:lnTo>
                    <a:lnTo>
                      <a:pt x="594" y="14"/>
                    </a:lnTo>
                    <a:lnTo>
                      <a:pt x="558" y="22"/>
                    </a:lnTo>
                    <a:lnTo>
                      <a:pt x="522" y="32"/>
                    </a:lnTo>
                    <a:lnTo>
                      <a:pt x="488" y="44"/>
                    </a:lnTo>
                    <a:lnTo>
                      <a:pt x="454" y="58"/>
                    </a:lnTo>
                    <a:lnTo>
                      <a:pt x="422" y="72"/>
                    </a:lnTo>
                    <a:lnTo>
                      <a:pt x="390" y="88"/>
                    </a:lnTo>
                    <a:lnTo>
                      <a:pt x="358" y="106"/>
                    </a:lnTo>
                    <a:lnTo>
                      <a:pt x="328" y="126"/>
                    </a:lnTo>
                    <a:lnTo>
                      <a:pt x="300" y="146"/>
                    </a:lnTo>
                    <a:lnTo>
                      <a:pt x="272" y="168"/>
                    </a:lnTo>
                    <a:lnTo>
                      <a:pt x="244" y="192"/>
                    </a:lnTo>
                    <a:lnTo>
                      <a:pt x="218" y="216"/>
                    </a:lnTo>
                    <a:lnTo>
                      <a:pt x="194" y="242"/>
                    </a:lnTo>
                    <a:lnTo>
                      <a:pt x="170" y="270"/>
                    </a:lnTo>
                    <a:lnTo>
                      <a:pt x="148" y="298"/>
                    </a:lnTo>
                    <a:lnTo>
                      <a:pt x="128" y="326"/>
                    </a:lnTo>
                    <a:lnTo>
                      <a:pt x="108" y="356"/>
                    </a:lnTo>
                    <a:lnTo>
                      <a:pt x="90" y="388"/>
                    </a:lnTo>
                    <a:lnTo>
                      <a:pt x="74" y="420"/>
                    </a:lnTo>
                    <a:lnTo>
                      <a:pt x="60" y="452"/>
                    </a:lnTo>
                    <a:lnTo>
                      <a:pt x="46" y="486"/>
                    </a:lnTo>
                    <a:lnTo>
                      <a:pt x="34" y="522"/>
                    </a:lnTo>
                    <a:lnTo>
                      <a:pt x="24" y="556"/>
                    </a:lnTo>
                    <a:lnTo>
                      <a:pt x="16" y="592"/>
                    </a:lnTo>
                    <a:lnTo>
                      <a:pt x="10" y="628"/>
                    </a:lnTo>
                    <a:lnTo>
                      <a:pt x="4" y="666"/>
                    </a:lnTo>
                    <a:lnTo>
                      <a:pt x="2" y="704"/>
                    </a:lnTo>
                    <a:lnTo>
                      <a:pt x="0" y="742"/>
                    </a:lnTo>
                    <a:lnTo>
                      <a:pt x="0" y="742"/>
                    </a:lnTo>
                    <a:lnTo>
                      <a:pt x="2" y="790"/>
                    </a:lnTo>
                    <a:lnTo>
                      <a:pt x="6" y="838"/>
                    </a:lnTo>
                    <a:lnTo>
                      <a:pt x="14" y="886"/>
                    </a:lnTo>
                    <a:lnTo>
                      <a:pt x="26" y="932"/>
                    </a:lnTo>
                    <a:lnTo>
                      <a:pt x="40" y="976"/>
                    </a:lnTo>
                    <a:lnTo>
                      <a:pt x="56" y="1022"/>
                    </a:lnTo>
                    <a:lnTo>
                      <a:pt x="74" y="1064"/>
                    </a:lnTo>
                    <a:lnTo>
                      <a:pt x="96" y="1106"/>
                    </a:lnTo>
                    <a:lnTo>
                      <a:pt x="120" y="1146"/>
                    </a:lnTo>
                    <a:lnTo>
                      <a:pt x="148" y="1184"/>
                    </a:lnTo>
                    <a:lnTo>
                      <a:pt x="178" y="1222"/>
                    </a:lnTo>
                    <a:lnTo>
                      <a:pt x="208" y="1256"/>
                    </a:lnTo>
                    <a:lnTo>
                      <a:pt x="242" y="1290"/>
                    </a:lnTo>
                    <a:lnTo>
                      <a:pt x="278" y="1320"/>
                    </a:lnTo>
                    <a:lnTo>
                      <a:pt x="316" y="1348"/>
                    </a:lnTo>
                    <a:lnTo>
                      <a:pt x="356" y="1374"/>
                    </a:lnTo>
                    <a:lnTo>
                      <a:pt x="356" y="1374"/>
                    </a:lnTo>
                    <a:close/>
                    <a:moveTo>
                      <a:pt x="743" y="284"/>
                    </a:moveTo>
                    <a:lnTo>
                      <a:pt x="743" y="284"/>
                    </a:lnTo>
                    <a:lnTo>
                      <a:pt x="789" y="286"/>
                    </a:lnTo>
                    <a:lnTo>
                      <a:pt x="835" y="294"/>
                    </a:lnTo>
                    <a:lnTo>
                      <a:pt x="879" y="304"/>
                    </a:lnTo>
                    <a:lnTo>
                      <a:pt x="921" y="320"/>
                    </a:lnTo>
                    <a:lnTo>
                      <a:pt x="961" y="340"/>
                    </a:lnTo>
                    <a:lnTo>
                      <a:pt x="997" y="362"/>
                    </a:lnTo>
                    <a:lnTo>
                      <a:pt x="1033" y="388"/>
                    </a:lnTo>
                    <a:lnTo>
                      <a:pt x="1065" y="418"/>
                    </a:lnTo>
                    <a:lnTo>
                      <a:pt x="1095" y="450"/>
                    </a:lnTo>
                    <a:lnTo>
                      <a:pt x="1121" y="486"/>
                    </a:lnTo>
                    <a:lnTo>
                      <a:pt x="1145" y="524"/>
                    </a:lnTo>
                    <a:lnTo>
                      <a:pt x="1165" y="564"/>
                    </a:lnTo>
                    <a:lnTo>
                      <a:pt x="1179" y="606"/>
                    </a:lnTo>
                    <a:lnTo>
                      <a:pt x="1191" y="650"/>
                    </a:lnTo>
                    <a:lnTo>
                      <a:pt x="1197" y="694"/>
                    </a:lnTo>
                    <a:lnTo>
                      <a:pt x="1201" y="742"/>
                    </a:lnTo>
                    <a:lnTo>
                      <a:pt x="1201" y="742"/>
                    </a:lnTo>
                    <a:lnTo>
                      <a:pt x="1199" y="776"/>
                    </a:lnTo>
                    <a:lnTo>
                      <a:pt x="1195" y="808"/>
                    </a:lnTo>
                    <a:lnTo>
                      <a:pt x="1189" y="840"/>
                    </a:lnTo>
                    <a:lnTo>
                      <a:pt x="1181" y="872"/>
                    </a:lnTo>
                    <a:lnTo>
                      <a:pt x="1171" y="904"/>
                    </a:lnTo>
                    <a:lnTo>
                      <a:pt x="1157" y="934"/>
                    </a:lnTo>
                    <a:lnTo>
                      <a:pt x="1143" y="962"/>
                    </a:lnTo>
                    <a:lnTo>
                      <a:pt x="1127" y="990"/>
                    </a:lnTo>
                    <a:lnTo>
                      <a:pt x="1107" y="1016"/>
                    </a:lnTo>
                    <a:lnTo>
                      <a:pt x="1087" y="1042"/>
                    </a:lnTo>
                    <a:lnTo>
                      <a:pt x="1065" y="1066"/>
                    </a:lnTo>
                    <a:lnTo>
                      <a:pt x="1041" y="1088"/>
                    </a:lnTo>
                    <a:lnTo>
                      <a:pt x="1015" y="1108"/>
                    </a:lnTo>
                    <a:lnTo>
                      <a:pt x="987" y="1128"/>
                    </a:lnTo>
                    <a:lnTo>
                      <a:pt x="959" y="1144"/>
                    </a:lnTo>
                    <a:lnTo>
                      <a:pt x="927" y="1160"/>
                    </a:lnTo>
                    <a:lnTo>
                      <a:pt x="843" y="1196"/>
                    </a:lnTo>
                    <a:lnTo>
                      <a:pt x="843" y="1924"/>
                    </a:lnTo>
                    <a:lnTo>
                      <a:pt x="843" y="1924"/>
                    </a:lnTo>
                    <a:lnTo>
                      <a:pt x="841" y="1944"/>
                    </a:lnTo>
                    <a:lnTo>
                      <a:pt x="835" y="1962"/>
                    </a:lnTo>
                    <a:lnTo>
                      <a:pt x="827" y="1980"/>
                    </a:lnTo>
                    <a:lnTo>
                      <a:pt x="813" y="1994"/>
                    </a:lnTo>
                    <a:lnTo>
                      <a:pt x="799" y="2008"/>
                    </a:lnTo>
                    <a:lnTo>
                      <a:pt x="781" y="2016"/>
                    </a:lnTo>
                    <a:lnTo>
                      <a:pt x="763" y="2022"/>
                    </a:lnTo>
                    <a:lnTo>
                      <a:pt x="743" y="2026"/>
                    </a:lnTo>
                    <a:lnTo>
                      <a:pt x="743" y="2026"/>
                    </a:lnTo>
                    <a:lnTo>
                      <a:pt x="722" y="2022"/>
                    </a:lnTo>
                    <a:lnTo>
                      <a:pt x="704" y="2016"/>
                    </a:lnTo>
                    <a:lnTo>
                      <a:pt x="686" y="2008"/>
                    </a:lnTo>
                    <a:lnTo>
                      <a:pt x="672" y="1994"/>
                    </a:lnTo>
                    <a:lnTo>
                      <a:pt x="660" y="1980"/>
                    </a:lnTo>
                    <a:lnTo>
                      <a:pt x="650" y="1962"/>
                    </a:lnTo>
                    <a:lnTo>
                      <a:pt x="644" y="1944"/>
                    </a:lnTo>
                    <a:lnTo>
                      <a:pt x="642" y="1924"/>
                    </a:lnTo>
                    <a:lnTo>
                      <a:pt x="642" y="1196"/>
                    </a:lnTo>
                    <a:lnTo>
                      <a:pt x="558" y="1160"/>
                    </a:lnTo>
                    <a:lnTo>
                      <a:pt x="558" y="1160"/>
                    </a:lnTo>
                    <a:lnTo>
                      <a:pt x="526" y="1144"/>
                    </a:lnTo>
                    <a:lnTo>
                      <a:pt x="498" y="1128"/>
                    </a:lnTo>
                    <a:lnTo>
                      <a:pt x="470" y="1108"/>
                    </a:lnTo>
                    <a:lnTo>
                      <a:pt x="444" y="1088"/>
                    </a:lnTo>
                    <a:lnTo>
                      <a:pt x="420" y="1066"/>
                    </a:lnTo>
                    <a:lnTo>
                      <a:pt x="398" y="1042"/>
                    </a:lnTo>
                    <a:lnTo>
                      <a:pt x="378" y="1016"/>
                    </a:lnTo>
                    <a:lnTo>
                      <a:pt x="360" y="990"/>
                    </a:lnTo>
                    <a:lnTo>
                      <a:pt x="342" y="962"/>
                    </a:lnTo>
                    <a:lnTo>
                      <a:pt x="328" y="934"/>
                    </a:lnTo>
                    <a:lnTo>
                      <a:pt x="314" y="904"/>
                    </a:lnTo>
                    <a:lnTo>
                      <a:pt x="304" y="872"/>
                    </a:lnTo>
                    <a:lnTo>
                      <a:pt x="296" y="840"/>
                    </a:lnTo>
                    <a:lnTo>
                      <a:pt x="290" y="808"/>
                    </a:lnTo>
                    <a:lnTo>
                      <a:pt x="286" y="776"/>
                    </a:lnTo>
                    <a:lnTo>
                      <a:pt x="286" y="742"/>
                    </a:lnTo>
                    <a:lnTo>
                      <a:pt x="286" y="742"/>
                    </a:lnTo>
                    <a:lnTo>
                      <a:pt x="288" y="694"/>
                    </a:lnTo>
                    <a:lnTo>
                      <a:pt x="294" y="650"/>
                    </a:lnTo>
                    <a:lnTo>
                      <a:pt x="306" y="606"/>
                    </a:lnTo>
                    <a:lnTo>
                      <a:pt x="322" y="564"/>
                    </a:lnTo>
                    <a:lnTo>
                      <a:pt x="340" y="524"/>
                    </a:lnTo>
                    <a:lnTo>
                      <a:pt x="364" y="486"/>
                    </a:lnTo>
                    <a:lnTo>
                      <a:pt x="390" y="450"/>
                    </a:lnTo>
                    <a:lnTo>
                      <a:pt x="420" y="418"/>
                    </a:lnTo>
                    <a:lnTo>
                      <a:pt x="452" y="388"/>
                    </a:lnTo>
                    <a:lnTo>
                      <a:pt x="488" y="362"/>
                    </a:lnTo>
                    <a:lnTo>
                      <a:pt x="524" y="340"/>
                    </a:lnTo>
                    <a:lnTo>
                      <a:pt x="566" y="320"/>
                    </a:lnTo>
                    <a:lnTo>
                      <a:pt x="608" y="304"/>
                    </a:lnTo>
                    <a:lnTo>
                      <a:pt x="650" y="294"/>
                    </a:lnTo>
                    <a:lnTo>
                      <a:pt x="696" y="286"/>
                    </a:lnTo>
                    <a:lnTo>
                      <a:pt x="743" y="284"/>
                    </a:lnTo>
                    <a:lnTo>
                      <a:pt x="743" y="2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0" name="Freeform 149">
                <a:extLst>
                  <a:ext uri="{FF2B5EF4-FFF2-40B4-BE49-F238E27FC236}">
                    <a16:creationId xmlns:a16="http://schemas.microsoft.com/office/drawing/2014/main" id="{C9AFE62B-6F3E-4E9C-985B-34B40B242E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6" y="0"/>
                <a:ext cx="6673" cy="6672"/>
              </a:xfrm>
              <a:custGeom>
                <a:avLst/>
                <a:gdLst>
                  <a:gd name="T0" fmla="*/ 0 w 6673"/>
                  <a:gd name="T1" fmla="*/ 0 h 6672"/>
                  <a:gd name="T2" fmla="*/ 0 w 6673"/>
                  <a:gd name="T3" fmla="*/ 6672 h 6672"/>
                  <a:gd name="T4" fmla="*/ 6673 w 6673"/>
                  <a:gd name="T5" fmla="*/ 6672 h 6672"/>
                  <a:gd name="T6" fmla="*/ 6673 w 6673"/>
                  <a:gd name="T7" fmla="*/ 0 h 6672"/>
                  <a:gd name="T8" fmla="*/ 0 w 6673"/>
                  <a:gd name="T9" fmla="*/ 0 h 6672"/>
                  <a:gd name="T10" fmla="*/ 6387 w 6673"/>
                  <a:gd name="T11" fmla="*/ 6388 h 6672"/>
                  <a:gd name="T12" fmla="*/ 286 w 6673"/>
                  <a:gd name="T13" fmla="*/ 6388 h 6672"/>
                  <a:gd name="T14" fmla="*/ 286 w 6673"/>
                  <a:gd name="T15" fmla="*/ 284 h 6672"/>
                  <a:gd name="T16" fmla="*/ 6387 w 6673"/>
                  <a:gd name="T17" fmla="*/ 284 h 6672"/>
                  <a:gd name="T18" fmla="*/ 6387 w 6673"/>
                  <a:gd name="T19" fmla="*/ 6388 h 6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73" h="6672">
                    <a:moveTo>
                      <a:pt x="0" y="0"/>
                    </a:moveTo>
                    <a:lnTo>
                      <a:pt x="0" y="6672"/>
                    </a:lnTo>
                    <a:lnTo>
                      <a:pt x="6673" y="6672"/>
                    </a:lnTo>
                    <a:lnTo>
                      <a:pt x="6673" y="0"/>
                    </a:lnTo>
                    <a:lnTo>
                      <a:pt x="0" y="0"/>
                    </a:lnTo>
                    <a:close/>
                    <a:moveTo>
                      <a:pt x="6387" y="6388"/>
                    </a:moveTo>
                    <a:lnTo>
                      <a:pt x="286" y="6388"/>
                    </a:lnTo>
                    <a:lnTo>
                      <a:pt x="286" y="284"/>
                    </a:lnTo>
                    <a:lnTo>
                      <a:pt x="6387" y="284"/>
                    </a:lnTo>
                    <a:lnTo>
                      <a:pt x="6387" y="63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1" name="Freeform 150">
                <a:extLst>
                  <a:ext uri="{FF2B5EF4-FFF2-40B4-BE49-F238E27FC236}">
                    <a16:creationId xmlns:a16="http://schemas.microsoft.com/office/drawing/2014/main" id="{64EF062C-2040-4105-8FF8-26C6B37D1A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84" y="1298"/>
                <a:ext cx="4077" cy="4078"/>
              </a:xfrm>
              <a:custGeom>
                <a:avLst/>
                <a:gdLst>
                  <a:gd name="T0" fmla="*/ 2247 w 4077"/>
                  <a:gd name="T1" fmla="*/ 4068 h 4078"/>
                  <a:gd name="T2" fmla="*/ 2547 w 4077"/>
                  <a:gd name="T3" fmla="*/ 4014 h 4078"/>
                  <a:gd name="T4" fmla="*/ 2831 w 4077"/>
                  <a:gd name="T5" fmla="*/ 3918 h 4078"/>
                  <a:gd name="T6" fmla="*/ 3177 w 4077"/>
                  <a:gd name="T7" fmla="*/ 3728 h 4078"/>
                  <a:gd name="T8" fmla="*/ 3611 w 4077"/>
                  <a:gd name="T9" fmla="*/ 3334 h 4078"/>
                  <a:gd name="T10" fmla="*/ 3875 w 4077"/>
                  <a:gd name="T11" fmla="*/ 2922 h 4078"/>
                  <a:gd name="T12" fmla="*/ 3985 w 4077"/>
                  <a:gd name="T13" fmla="*/ 2644 h 4078"/>
                  <a:gd name="T14" fmla="*/ 4053 w 4077"/>
                  <a:gd name="T15" fmla="*/ 2348 h 4078"/>
                  <a:gd name="T16" fmla="*/ 4077 w 4077"/>
                  <a:gd name="T17" fmla="*/ 2038 h 4078"/>
                  <a:gd name="T18" fmla="*/ 4061 w 4077"/>
                  <a:gd name="T19" fmla="*/ 1778 h 4078"/>
                  <a:gd name="T20" fmla="*/ 3999 w 4077"/>
                  <a:gd name="T21" fmla="*/ 1480 h 4078"/>
                  <a:gd name="T22" fmla="*/ 3897 w 4077"/>
                  <a:gd name="T23" fmla="*/ 1200 h 4078"/>
                  <a:gd name="T24" fmla="*/ 3671 w 4077"/>
                  <a:gd name="T25" fmla="*/ 818 h 4078"/>
                  <a:gd name="T26" fmla="*/ 3257 w 4077"/>
                  <a:gd name="T27" fmla="*/ 404 h 4078"/>
                  <a:gd name="T28" fmla="*/ 2877 w 4077"/>
                  <a:gd name="T29" fmla="*/ 180 h 4078"/>
                  <a:gd name="T30" fmla="*/ 2595 w 4077"/>
                  <a:gd name="T31" fmla="*/ 76 h 4078"/>
                  <a:gd name="T32" fmla="*/ 2297 w 4077"/>
                  <a:gd name="T33" fmla="*/ 16 h 4078"/>
                  <a:gd name="T34" fmla="*/ 2039 w 4077"/>
                  <a:gd name="T35" fmla="*/ 0 h 4078"/>
                  <a:gd name="T36" fmla="*/ 1728 w 4077"/>
                  <a:gd name="T37" fmla="*/ 22 h 4078"/>
                  <a:gd name="T38" fmla="*/ 1434 w 4077"/>
                  <a:gd name="T39" fmla="*/ 90 h 4078"/>
                  <a:gd name="T40" fmla="*/ 1156 w 4077"/>
                  <a:gd name="T41" fmla="*/ 200 h 4078"/>
                  <a:gd name="T42" fmla="*/ 742 w 4077"/>
                  <a:gd name="T43" fmla="*/ 466 h 4078"/>
                  <a:gd name="T44" fmla="*/ 348 w 4077"/>
                  <a:gd name="T45" fmla="*/ 898 h 4078"/>
                  <a:gd name="T46" fmla="*/ 160 w 4077"/>
                  <a:gd name="T47" fmla="*/ 1246 h 4078"/>
                  <a:gd name="T48" fmla="*/ 64 w 4077"/>
                  <a:gd name="T49" fmla="*/ 1530 h 4078"/>
                  <a:gd name="T50" fmla="*/ 10 w 4077"/>
                  <a:gd name="T51" fmla="*/ 1830 h 4078"/>
                  <a:gd name="T52" fmla="*/ 0 w 4077"/>
                  <a:gd name="T53" fmla="*/ 2090 h 4078"/>
                  <a:gd name="T54" fmla="*/ 32 w 4077"/>
                  <a:gd name="T55" fmla="*/ 2398 h 4078"/>
                  <a:gd name="T56" fmla="*/ 108 w 4077"/>
                  <a:gd name="T57" fmla="*/ 2692 h 4078"/>
                  <a:gd name="T58" fmla="*/ 224 w 4077"/>
                  <a:gd name="T59" fmla="*/ 2966 h 4078"/>
                  <a:gd name="T60" fmla="*/ 530 w 4077"/>
                  <a:gd name="T61" fmla="*/ 3408 h 4078"/>
                  <a:gd name="T62" fmla="*/ 982 w 4077"/>
                  <a:gd name="T63" fmla="*/ 3782 h 4078"/>
                  <a:gd name="T64" fmla="*/ 1292 w 4077"/>
                  <a:gd name="T65" fmla="*/ 3936 h 4078"/>
                  <a:gd name="T66" fmla="*/ 1580 w 4077"/>
                  <a:gd name="T67" fmla="*/ 4026 h 4078"/>
                  <a:gd name="T68" fmla="*/ 1882 w 4077"/>
                  <a:gd name="T69" fmla="*/ 4072 h 4078"/>
                  <a:gd name="T70" fmla="*/ 2039 w 4077"/>
                  <a:gd name="T71" fmla="*/ 284 h 4078"/>
                  <a:gd name="T72" fmla="*/ 2559 w 4077"/>
                  <a:gd name="T73" fmla="*/ 362 h 4078"/>
                  <a:gd name="T74" fmla="*/ 3019 w 4077"/>
                  <a:gd name="T75" fmla="*/ 584 h 4078"/>
                  <a:gd name="T76" fmla="*/ 3391 w 4077"/>
                  <a:gd name="T77" fmla="*/ 922 h 4078"/>
                  <a:gd name="T78" fmla="*/ 3655 w 4077"/>
                  <a:gd name="T79" fmla="*/ 1356 h 4078"/>
                  <a:gd name="T80" fmla="*/ 3783 w 4077"/>
                  <a:gd name="T81" fmla="*/ 1860 h 4078"/>
                  <a:gd name="T82" fmla="*/ 3773 w 4077"/>
                  <a:gd name="T83" fmla="*/ 2306 h 4078"/>
                  <a:gd name="T84" fmla="*/ 3619 w 4077"/>
                  <a:gd name="T85" fmla="*/ 2798 h 4078"/>
                  <a:gd name="T86" fmla="*/ 3337 w 4077"/>
                  <a:gd name="T87" fmla="*/ 3218 h 4078"/>
                  <a:gd name="T88" fmla="*/ 2947 w 4077"/>
                  <a:gd name="T89" fmla="*/ 3538 h 4078"/>
                  <a:gd name="T90" fmla="*/ 2477 w 4077"/>
                  <a:gd name="T91" fmla="*/ 3738 h 4078"/>
                  <a:gd name="T92" fmla="*/ 2039 w 4077"/>
                  <a:gd name="T93" fmla="*/ 3794 h 4078"/>
                  <a:gd name="T94" fmla="*/ 1518 w 4077"/>
                  <a:gd name="T95" fmla="*/ 3714 h 4078"/>
                  <a:gd name="T96" fmla="*/ 1058 w 4077"/>
                  <a:gd name="T97" fmla="*/ 3494 h 4078"/>
                  <a:gd name="T98" fmla="*/ 686 w 4077"/>
                  <a:gd name="T99" fmla="*/ 3154 h 4078"/>
                  <a:gd name="T100" fmla="*/ 422 w 4077"/>
                  <a:gd name="T101" fmla="*/ 2720 h 4078"/>
                  <a:gd name="T102" fmla="*/ 294 w 4077"/>
                  <a:gd name="T103" fmla="*/ 2218 h 4078"/>
                  <a:gd name="T104" fmla="*/ 304 w 4077"/>
                  <a:gd name="T105" fmla="*/ 1772 h 4078"/>
                  <a:gd name="T106" fmla="*/ 458 w 4077"/>
                  <a:gd name="T107" fmla="*/ 1278 h 4078"/>
                  <a:gd name="T108" fmla="*/ 740 w 4077"/>
                  <a:gd name="T109" fmla="*/ 860 h 4078"/>
                  <a:gd name="T110" fmla="*/ 1130 w 4077"/>
                  <a:gd name="T111" fmla="*/ 538 h 4078"/>
                  <a:gd name="T112" fmla="*/ 1602 w 4077"/>
                  <a:gd name="T113" fmla="*/ 338 h 4078"/>
                  <a:gd name="T114" fmla="*/ 2039 w 4077"/>
                  <a:gd name="T115" fmla="*/ 284 h 4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077" h="4078">
                    <a:moveTo>
                      <a:pt x="2039" y="4078"/>
                    </a:moveTo>
                    <a:lnTo>
                      <a:pt x="2039" y="4078"/>
                    </a:lnTo>
                    <a:lnTo>
                      <a:pt x="2091" y="4078"/>
                    </a:lnTo>
                    <a:lnTo>
                      <a:pt x="2143" y="4076"/>
                    </a:lnTo>
                    <a:lnTo>
                      <a:pt x="2195" y="4072"/>
                    </a:lnTo>
                    <a:lnTo>
                      <a:pt x="2247" y="4068"/>
                    </a:lnTo>
                    <a:lnTo>
                      <a:pt x="2297" y="4062"/>
                    </a:lnTo>
                    <a:lnTo>
                      <a:pt x="2349" y="4054"/>
                    </a:lnTo>
                    <a:lnTo>
                      <a:pt x="2399" y="4046"/>
                    </a:lnTo>
                    <a:lnTo>
                      <a:pt x="2449" y="4036"/>
                    </a:lnTo>
                    <a:lnTo>
                      <a:pt x="2499" y="4026"/>
                    </a:lnTo>
                    <a:lnTo>
                      <a:pt x="2547" y="4014"/>
                    </a:lnTo>
                    <a:lnTo>
                      <a:pt x="2595" y="4000"/>
                    </a:lnTo>
                    <a:lnTo>
                      <a:pt x="2643" y="3986"/>
                    </a:lnTo>
                    <a:lnTo>
                      <a:pt x="2691" y="3970"/>
                    </a:lnTo>
                    <a:lnTo>
                      <a:pt x="2739" y="3954"/>
                    </a:lnTo>
                    <a:lnTo>
                      <a:pt x="2785" y="3936"/>
                    </a:lnTo>
                    <a:lnTo>
                      <a:pt x="2831" y="3918"/>
                    </a:lnTo>
                    <a:lnTo>
                      <a:pt x="2877" y="3898"/>
                    </a:lnTo>
                    <a:lnTo>
                      <a:pt x="2921" y="3876"/>
                    </a:lnTo>
                    <a:lnTo>
                      <a:pt x="2965" y="3854"/>
                    </a:lnTo>
                    <a:lnTo>
                      <a:pt x="3009" y="3832"/>
                    </a:lnTo>
                    <a:lnTo>
                      <a:pt x="3095" y="3782"/>
                    </a:lnTo>
                    <a:lnTo>
                      <a:pt x="3177" y="3728"/>
                    </a:lnTo>
                    <a:lnTo>
                      <a:pt x="3257" y="3672"/>
                    </a:lnTo>
                    <a:lnTo>
                      <a:pt x="3335" y="3612"/>
                    </a:lnTo>
                    <a:lnTo>
                      <a:pt x="3409" y="3548"/>
                    </a:lnTo>
                    <a:lnTo>
                      <a:pt x="3479" y="3480"/>
                    </a:lnTo>
                    <a:lnTo>
                      <a:pt x="3547" y="3408"/>
                    </a:lnTo>
                    <a:lnTo>
                      <a:pt x="3611" y="3334"/>
                    </a:lnTo>
                    <a:lnTo>
                      <a:pt x="3671" y="3258"/>
                    </a:lnTo>
                    <a:lnTo>
                      <a:pt x="3729" y="3178"/>
                    </a:lnTo>
                    <a:lnTo>
                      <a:pt x="3781" y="3096"/>
                    </a:lnTo>
                    <a:lnTo>
                      <a:pt x="3831" y="3010"/>
                    </a:lnTo>
                    <a:lnTo>
                      <a:pt x="3853" y="2966"/>
                    </a:lnTo>
                    <a:lnTo>
                      <a:pt x="3875" y="2922"/>
                    </a:lnTo>
                    <a:lnTo>
                      <a:pt x="3897" y="2876"/>
                    </a:lnTo>
                    <a:lnTo>
                      <a:pt x="3917" y="2832"/>
                    </a:lnTo>
                    <a:lnTo>
                      <a:pt x="3935" y="2786"/>
                    </a:lnTo>
                    <a:lnTo>
                      <a:pt x="3953" y="2738"/>
                    </a:lnTo>
                    <a:lnTo>
                      <a:pt x="3971" y="2692"/>
                    </a:lnTo>
                    <a:lnTo>
                      <a:pt x="3985" y="2644"/>
                    </a:lnTo>
                    <a:lnTo>
                      <a:pt x="3999" y="2596"/>
                    </a:lnTo>
                    <a:lnTo>
                      <a:pt x="4013" y="2548"/>
                    </a:lnTo>
                    <a:lnTo>
                      <a:pt x="4025" y="2498"/>
                    </a:lnTo>
                    <a:lnTo>
                      <a:pt x="4035" y="2448"/>
                    </a:lnTo>
                    <a:lnTo>
                      <a:pt x="4045" y="2398"/>
                    </a:lnTo>
                    <a:lnTo>
                      <a:pt x="4053" y="2348"/>
                    </a:lnTo>
                    <a:lnTo>
                      <a:pt x="4061" y="2298"/>
                    </a:lnTo>
                    <a:lnTo>
                      <a:pt x="4067" y="2246"/>
                    </a:lnTo>
                    <a:lnTo>
                      <a:pt x="4071" y="2196"/>
                    </a:lnTo>
                    <a:lnTo>
                      <a:pt x="4075" y="2144"/>
                    </a:lnTo>
                    <a:lnTo>
                      <a:pt x="4077" y="2090"/>
                    </a:lnTo>
                    <a:lnTo>
                      <a:pt x="4077" y="2038"/>
                    </a:lnTo>
                    <a:lnTo>
                      <a:pt x="4077" y="2038"/>
                    </a:lnTo>
                    <a:lnTo>
                      <a:pt x="4077" y="1986"/>
                    </a:lnTo>
                    <a:lnTo>
                      <a:pt x="4075" y="1934"/>
                    </a:lnTo>
                    <a:lnTo>
                      <a:pt x="4071" y="1882"/>
                    </a:lnTo>
                    <a:lnTo>
                      <a:pt x="4067" y="1830"/>
                    </a:lnTo>
                    <a:lnTo>
                      <a:pt x="4061" y="1778"/>
                    </a:lnTo>
                    <a:lnTo>
                      <a:pt x="4053" y="1728"/>
                    </a:lnTo>
                    <a:lnTo>
                      <a:pt x="4045" y="1678"/>
                    </a:lnTo>
                    <a:lnTo>
                      <a:pt x="4035" y="1628"/>
                    </a:lnTo>
                    <a:lnTo>
                      <a:pt x="4025" y="1578"/>
                    </a:lnTo>
                    <a:lnTo>
                      <a:pt x="4013" y="1530"/>
                    </a:lnTo>
                    <a:lnTo>
                      <a:pt x="3999" y="1480"/>
                    </a:lnTo>
                    <a:lnTo>
                      <a:pt x="3985" y="1432"/>
                    </a:lnTo>
                    <a:lnTo>
                      <a:pt x="3971" y="1384"/>
                    </a:lnTo>
                    <a:lnTo>
                      <a:pt x="3953" y="1338"/>
                    </a:lnTo>
                    <a:lnTo>
                      <a:pt x="3935" y="1292"/>
                    </a:lnTo>
                    <a:lnTo>
                      <a:pt x="3917" y="1246"/>
                    </a:lnTo>
                    <a:lnTo>
                      <a:pt x="3897" y="1200"/>
                    </a:lnTo>
                    <a:lnTo>
                      <a:pt x="3875" y="1156"/>
                    </a:lnTo>
                    <a:lnTo>
                      <a:pt x="3853" y="1110"/>
                    </a:lnTo>
                    <a:lnTo>
                      <a:pt x="3831" y="1068"/>
                    </a:lnTo>
                    <a:lnTo>
                      <a:pt x="3781" y="982"/>
                    </a:lnTo>
                    <a:lnTo>
                      <a:pt x="3729" y="898"/>
                    </a:lnTo>
                    <a:lnTo>
                      <a:pt x="3671" y="818"/>
                    </a:lnTo>
                    <a:lnTo>
                      <a:pt x="3611" y="742"/>
                    </a:lnTo>
                    <a:lnTo>
                      <a:pt x="3547" y="668"/>
                    </a:lnTo>
                    <a:lnTo>
                      <a:pt x="3479" y="598"/>
                    </a:lnTo>
                    <a:lnTo>
                      <a:pt x="3409" y="530"/>
                    </a:lnTo>
                    <a:lnTo>
                      <a:pt x="3335" y="466"/>
                    </a:lnTo>
                    <a:lnTo>
                      <a:pt x="3257" y="404"/>
                    </a:lnTo>
                    <a:lnTo>
                      <a:pt x="3177" y="348"/>
                    </a:lnTo>
                    <a:lnTo>
                      <a:pt x="3095" y="294"/>
                    </a:lnTo>
                    <a:lnTo>
                      <a:pt x="3009" y="246"/>
                    </a:lnTo>
                    <a:lnTo>
                      <a:pt x="2965" y="222"/>
                    </a:lnTo>
                    <a:lnTo>
                      <a:pt x="2921" y="200"/>
                    </a:lnTo>
                    <a:lnTo>
                      <a:pt x="2877" y="180"/>
                    </a:lnTo>
                    <a:lnTo>
                      <a:pt x="2831" y="160"/>
                    </a:lnTo>
                    <a:lnTo>
                      <a:pt x="2785" y="140"/>
                    </a:lnTo>
                    <a:lnTo>
                      <a:pt x="2739" y="122"/>
                    </a:lnTo>
                    <a:lnTo>
                      <a:pt x="2691" y="106"/>
                    </a:lnTo>
                    <a:lnTo>
                      <a:pt x="2643" y="90"/>
                    </a:lnTo>
                    <a:lnTo>
                      <a:pt x="2595" y="76"/>
                    </a:lnTo>
                    <a:lnTo>
                      <a:pt x="2547" y="64"/>
                    </a:lnTo>
                    <a:lnTo>
                      <a:pt x="2499" y="52"/>
                    </a:lnTo>
                    <a:lnTo>
                      <a:pt x="2449" y="40"/>
                    </a:lnTo>
                    <a:lnTo>
                      <a:pt x="2399" y="30"/>
                    </a:lnTo>
                    <a:lnTo>
                      <a:pt x="2349" y="22"/>
                    </a:lnTo>
                    <a:lnTo>
                      <a:pt x="2297" y="16"/>
                    </a:lnTo>
                    <a:lnTo>
                      <a:pt x="2247" y="10"/>
                    </a:lnTo>
                    <a:lnTo>
                      <a:pt x="2195" y="4"/>
                    </a:lnTo>
                    <a:lnTo>
                      <a:pt x="2143" y="2"/>
                    </a:lnTo>
                    <a:lnTo>
                      <a:pt x="2091" y="0"/>
                    </a:lnTo>
                    <a:lnTo>
                      <a:pt x="2039" y="0"/>
                    </a:lnTo>
                    <a:lnTo>
                      <a:pt x="2039" y="0"/>
                    </a:lnTo>
                    <a:lnTo>
                      <a:pt x="1986" y="0"/>
                    </a:lnTo>
                    <a:lnTo>
                      <a:pt x="1934" y="2"/>
                    </a:lnTo>
                    <a:lnTo>
                      <a:pt x="1882" y="4"/>
                    </a:lnTo>
                    <a:lnTo>
                      <a:pt x="1830" y="10"/>
                    </a:lnTo>
                    <a:lnTo>
                      <a:pt x="1780" y="16"/>
                    </a:lnTo>
                    <a:lnTo>
                      <a:pt x="1728" y="22"/>
                    </a:lnTo>
                    <a:lnTo>
                      <a:pt x="1678" y="30"/>
                    </a:lnTo>
                    <a:lnTo>
                      <a:pt x="1628" y="40"/>
                    </a:lnTo>
                    <a:lnTo>
                      <a:pt x="1580" y="52"/>
                    </a:lnTo>
                    <a:lnTo>
                      <a:pt x="1530" y="64"/>
                    </a:lnTo>
                    <a:lnTo>
                      <a:pt x="1482" y="76"/>
                    </a:lnTo>
                    <a:lnTo>
                      <a:pt x="1434" y="90"/>
                    </a:lnTo>
                    <a:lnTo>
                      <a:pt x="1386" y="106"/>
                    </a:lnTo>
                    <a:lnTo>
                      <a:pt x="1338" y="122"/>
                    </a:lnTo>
                    <a:lnTo>
                      <a:pt x="1292" y="140"/>
                    </a:lnTo>
                    <a:lnTo>
                      <a:pt x="1246" y="160"/>
                    </a:lnTo>
                    <a:lnTo>
                      <a:pt x="1200" y="180"/>
                    </a:lnTo>
                    <a:lnTo>
                      <a:pt x="1156" y="200"/>
                    </a:lnTo>
                    <a:lnTo>
                      <a:pt x="1112" y="222"/>
                    </a:lnTo>
                    <a:lnTo>
                      <a:pt x="1068" y="246"/>
                    </a:lnTo>
                    <a:lnTo>
                      <a:pt x="982" y="294"/>
                    </a:lnTo>
                    <a:lnTo>
                      <a:pt x="900" y="348"/>
                    </a:lnTo>
                    <a:lnTo>
                      <a:pt x="820" y="404"/>
                    </a:lnTo>
                    <a:lnTo>
                      <a:pt x="742" y="466"/>
                    </a:lnTo>
                    <a:lnTo>
                      <a:pt x="668" y="530"/>
                    </a:lnTo>
                    <a:lnTo>
                      <a:pt x="598" y="598"/>
                    </a:lnTo>
                    <a:lnTo>
                      <a:pt x="530" y="668"/>
                    </a:lnTo>
                    <a:lnTo>
                      <a:pt x="466" y="742"/>
                    </a:lnTo>
                    <a:lnTo>
                      <a:pt x="406" y="818"/>
                    </a:lnTo>
                    <a:lnTo>
                      <a:pt x="348" y="898"/>
                    </a:lnTo>
                    <a:lnTo>
                      <a:pt x="296" y="982"/>
                    </a:lnTo>
                    <a:lnTo>
                      <a:pt x="246" y="1068"/>
                    </a:lnTo>
                    <a:lnTo>
                      <a:pt x="224" y="1110"/>
                    </a:lnTo>
                    <a:lnTo>
                      <a:pt x="202" y="1156"/>
                    </a:lnTo>
                    <a:lnTo>
                      <a:pt x="180" y="1200"/>
                    </a:lnTo>
                    <a:lnTo>
                      <a:pt x="160" y="1246"/>
                    </a:lnTo>
                    <a:lnTo>
                      <a:pt x="142" y="1292"/>
                    </a:lnTo>
                    <a:lnTo>
                      <a:pt x="124" y="1338"/>
                    </a:lnTo>
                    <a:lnTo>
                      <a:pt x="108" y="1384"/>
                    </a:lnTo>
                    <a:lnTo>
                      <a:pt x="92" y="1432"/>
                    </a:lnTo>
                    <a:lnTo>
                      <a:pt x="78" y="1480"/>
                    </a:lnTo>
                    <a:lnTo>
                      <a:pt x="64" y="1530"/>
                    </a:lnTo>
                    <a:lnTo>
                      <a:pt x="52" y="1578"/>
                    </a:lnTo>
                    <a:lnTo>
                      <a:pt x="42" y="1628"/>
                    </a:lnTo>
                    <a:lnTo>
                      <a:pt x="32" y="1678"/>
                    </a:lnTo>
                    <a:lnTo>
                      <a:pt x="24" y="1728"/>
                    </a:lnTo>
                    <a:lnTo>
                      <a:pt x="16" y="1778"/>
                    </a:lnTo>
                    <a:lnTo>
                      <a:pt x="10" y="1830"/>
                    </a:lnTo>
                    <a:lnTo>
                      <a:pt x="6" y="1882"/>
                    </a:lnTo>
                    <a:lnTo>
                      <a:pt x="2" y="1934"/>
                    </a:lnTo>
                    <a:lnTo>
                      <a:pt x="0" y="1986"/>
                    </a:lnTo>
                    <a:lnTo>
                      <a:pt x="0" y="2038"/>
                    </a:lnTo>
                    <a:lnTo>
                      <a:pt x="0" y="2038"/>
                    </a:lnTo>
                    <a:lnTo>
                      <a:pt x="0" y="2090"/>
                    </a:lnTo>
                    <a:lnTo>
                      <a:pt x="2" y="2144"/>
                    </a:lnTo>
                    <a:lnTo>
                      <a:pt x="6" y="2196"/>
                    </a:lnTo>
                    <a:lnTo>
                      <a:pt x="10" y="2246"/>
                    </a:lnTo>
                    <a:lnTo>
                      <a:pt x="16" y="2298"/>
                    </a:lnTo>
                    <a:lnTo>
                      <a:pt x="24" y="2348"/>
                    </a:lnTo>
                    <a:lnTo>
                      <a:pt x="32" y="2398"/>
                    </a:lnTo>
                    <a:lnTo>
                      <a:pt x="42" y="2448"/>
                    </a:lnTo>
                    <a:lnTo>
                      <a:pt x="52" y="2498"/>
                    </a:lnTo>
                    <a:lnTo>
                      <a:pt x="64" y="2548"/>
                    </a:lnTo>
                    <a:lnTo>
                      <a:pt x="78" y="2596"/>
                    </a:lnTo>
                    <a:lnTo>
                      <a:pt x="92" y="2644"/>
                    </a:lnTo>
                    <a:lnTo>
                      <a:pt x="108" y="2692"/>
                    </a:lnTo>
                    <a:lnTo>
                      <a:pt x="124" y="2738"/>
                    </a:lnTo>
                    <a:lnTo>
                      <a:pt x="142" y="2786"/>
                    </a:lnTo>
                    <a:lnTo>
                      <a:pt x="160" y="2832"/>
                    </a:lnTo>
                    <a:lnTo>
                      <a:pt x="180" y="2876"/>
                    </a:lnTo>
                    <a:lnTo>
                      <a:pt x="202" y="2922"/>
                    </a:lnTo>
                    <a:lnTo>
                      <a:pt x="224" y="2966"/>
                    </a:lnTo>
                    <a:lnTo>
                      <a:pt x="246" y="3010"/>
                    </a:lnTo>
                    <a:lnTo>
                      <a:pt x="296" y="3096"/>
                    </a:lnTo>
                    <a:lnTo>
                      <a:pt x="348" y="3178"/>
                    </a:lnTo>
                    <a:lnTo>
                      <a:pt x="406" y="3258"/>
                    </a:lnTo>
                    <a:lnTo>
                      <a:pt x="466" y="3334"/>
                    </a:lnTo>
                    <a:lnTo>
                      <a:pt x="530" y="3408"/>
                    </a:lnTo>
                    <a:lnTo>
                      <a:pt x="598" y="3480"/>
                    </a:lnTo>
                    <a:lnTo>
                      <a:pt x="668" y="3548"/>
                    </a:lnTo>
                    <a:lnTo>
                      <a:pt x="742" y="3612"/>
                    </a:lnTo>
                    <a:lnTo>
                      <a:pt x="820" y="3672"/>
                    </a:lnTo>
                    <a:lnTo>
                      <a:pt x="900" y="3728"/>
                    </a:lnTo>
                    <a:lnTo>
                      <a:pt x="982" y="3782"/>
                    </a:lnTo>
                    <a:lnTo>
                      <a:pt x="1068" y="3832"/>
                    </a:lnTo>
                    <a:lnTo>
                      <a:pt x="1112" y="3854"/>
                    </a:lnTo>
                    <a:lnTo>
                      <a:pt x="1156" y="3876"/>
                    </a:lnTo>
                    <a:lnTo>
                      <a:pt x="1200" y="3898"/>
                    </a:lnTo>
                    <a:lnTo>
                      <a:pt x="1246" y="3918"/>
                    </a:lnTo>
                    <a:lnTo>
                      <a:pt x="1292" y="3936"/>
                    </a:lnTo>
                    <a:lnTo>
                      <a:pt x="1338" y="3954"/>
                    </a:lnTo>
                    <a:lnTo>
                      <a:pt x="1386" y="3970"/>
                    </a:lnTo>
                    <a:lnTo>
                      <a:pt x="1434" y="3986"/>
                    </a:lnTo>
                    <a:lnTo>
                      <a:pt x="1482" y="4000"/>
                    </a:lnTo>
                    <a:lnTo>
                      <a:pt x="1530" y="4014"/>
                    </a:lnTo>
                    <a:lnTo>
                      <a:pt x="1580" y="4026"/>
                    </a:lnTo>
                    <a:lnTo>
                      <a:pt x="1628" y="4036"/>
                    </a:lnTo>
                    <a:lnTo>
                      <a:pt x="1678" y="4046"/>
                    </a:lnTo>
                    <a:lnTo>
                      <a:pt x="1728" y="4054"/>
                    </a:lnTo>
                    <a:lnTo>
                      <a:pt x="1780" y="4062"/>
                    </a:lnTo>
                    <a:lnTo>
                      <a:pt x="1830" y="4068"/>
                    </a:lnTo>
                    <a:lnTo>
                      <a:pt x="1882" y="4072"/>
                    </a:lnTo>
                    <a:lnTo>
                      <a:pt x="1934" y="4076"/>
                    </a:lnTo>
                    <a:lnTo>
                      <a:pt x="1986" y="4078"/>
                    </a:lnTo>
                    <a:lnTo>
                      <a:pt x="2039" y="4078"/>
                    </a:lnTo>
                    <a:lnTo>
                      <a:pt x="2039" y="4078"/>
                    </a:lnTo>
                    <a:close/>
                    <a:moveTo>
                      <a:pt x="2039" y="284"/>
                    </a:moveTo>
                    <a:lnTo>
                      <a:pt x="2039" y="284"/>
                    </a:lnTo>
                    <a:lnTo>
                      <a:pt x="2129" y="286"/>
                    </a:lnTo>
                    <a:lnTo>
                      <a:pt x="2217" y="292"/>
                    </a:lnTo>
                    <a:lnTo>
                      <a:pt x="2305" y="304"/>
                    </a:lnTo>
                    <a:lnTo>
                      <a:pt x="2391" y="320"/>
                    </a:lnTo>
                    <a:lnTo>
                      <a:pt x="2477" y="338"/>
                    </a:lnTo>
                    <a:lnTo>
                      <a:pt x="2559" y="362"/>
                    </a:lnTo>
                    <a:lnTo>
                      <a:pt x="2641" y="390"/>
                    </a:lnTo>
                    <a:lnTo>
                      <a:pt x="2721" y="422"/>
                    </a:lnTo>
                    <a:lnTo>
                      <a:pt x="2799" y="456"/>
                    </a:lnTo>
                    <a:lnTo>
                      <a:pt x="2873" y="496"/>
                    </a:lnTo>
                    <a:lnTo>
                      <a:pt x="2947" y="538"/>
                    </a:lnTo>
                    <a:lnTo>
                      <a:pt x="3019" y="584"/>
                    </a:lnTo>
                    <a:lnTo>
                      <a:pt x="3087" y="632"/>
                    </a:lnTo>
                    <a:lnTo>
                      <a:pt x="3153" y="684"/>
                    </a:lnTo>
                    <a:lnTo>
                      <a:pt x="3217" y="740"/>
                    </a:lnTo>
                    <a:lnTo>
                      <a:pt x="3279" y="798"/>
                    </a:lnTo>
                    <a:lnTo>
                      <a:pt x="3337" y="860"/>
                    </a:lnTo>
                    <a:lnTo>
                      <a:pt x="3391" y="922"/>
                    </a:lnTo>
                    <a:lnTo>
                      <a:pt x="3443" y="990"/>
                    </a:lnTo>
                    <a:lnTo>
                      <a:pt x="3493" y="1058"/>
                    </a:lnTo>
                    <a:lnTo>
                      <a:pt x="3539" y="1130"/>
                    </a:lnTo>
                    <a:lnTo>
                      <a:pt x="3581" y="1202"/>
                    </a:lnTo>
                    <a:lnTo>
                      <a:pt x="3619" y="1278"/>
                    </a:lnTo>
                    <a:lnTo>
                      <a:pt x="3655" y="1356"/>
                    </a:lnTo>
                    <a:lnTo>
                      <a:pt x="3687" y="1436"/>
                    </a:lnTo>
                    <a:lnTo>
                      <a:pt x="3713" y="1518"/>
                    </a:lnTo>
                    <a:lnTo>
                      <a:pt x="3737" y="1600"/>
                    </a:lnTo>
                    <a:lnTo>
                      <a:pt x="3757" y="1686"/>
                    </a:lnTo>
                    <a:lnTo>
                      <a:pt x="3773" y="1772"/>
                    </a:lnTo>
                    <a:lnTo>
                      <a:pt x="3783" y="1860"/>
                    </a:lnTo>
                    <a:lnTo>
                      <a:pt x="3791" y="1948"/>
                    </a:lnTo>
                    <a:lnTo>
                      <a:pt x="3793" y="2038"/>
                    </a:lnTo>
                    <a:lnTo>
                      <a:pt x="3793" y="2038"/>
                    </a:lnTo>
                    <a:lnTo>
                      <a:pt x="3791" y="2128"/>
                    </a:lnTo>
                    <a:lnTo>
                      <a:pt x="3783" y="2218"/>
                    </a:lnTo>
                    <a:lnTo>
                      <a:pt x="3773" y="2306"/>
                    </a:lnTo>
                    <a:lnTo>
                      <a:pt x="3757" y="2392"/>
                    </a:lnTo>
                    <a:lnTo>
                      <a:pt x="3737" y="2476"/>
                    </a:lnTo>
                    <a:lnTo>
                      <a:pt x="3713" y="2560"/>
                    </a:lnTo>
                    <a:lnTo>
                      <a:pt x="3687" y="2642"/>
                    </a:lnTo>
                    <a:lnTo>
                      <a:pt x="3655" y="2720"/>
                    </a:lnTo>
                    <a:lnTo>
                      <a:pt x="3619" y="2798"/>
                    </a:lnTo>
                    <a:lnTo>
                      <a:pt x="3581" y="2874"/>
                    </a:lnTo>
                    <a:lnTo>
                      <a:pt x="3539" y="2948"/>
                    </a:lnTo>
                    <a:lnTo>
                      <a:pt x="3493" y="3018"/>
                    </a:lnTo>
                    <a:lnTo>
                      <a:pt x="3443" y="3088"/>
                    </a:lnTo>
                    <a:lnTo>
                      <a:pt x="3391" y="3154"/>
                    </a:lnTo>
                    <a:lnTo>
                      <a:pt x="3337" y="3218"/>
                    </a:lnTo>
                    <a:lnTo>
                      <a:pt x="3279" y="3278"/>
                    </a:lnTo>
                    <a:lnTo>
                      <a:pt x="3217" y="3336"/>
                    </a:lnTo>
                    <a:lnTo>
                      <a:pt x="3153" y="3392"/>
                    </a:lnTo>
                    <a:lnTo>
                      <a:pt x="3087" y="3444"/>
                    </a:lnTo>
                    <a:lnTo>
                      <a:pt x="3019" y="3494"/>
                    </a:lnTo>
                    <a:lnTo>
                      <a:pt x="2947" y="3538"/>
                    </a:lnTo>
                    <a:lnTo>
                      <a:pt x="2873" y="3580"/>
                    </a:lnTo>
                    <a:lnTo>
                      <a:pt x="2799" y="3620"/>
                    </a:lnTo>
                    <a:lnTo>
                      <a:pt x="2721" y="3654"/>
                    </a:lnTo>
                    <a:lnTo>
                      <a:pt x="2641" y="3686"/>
                    </a:lnTo>
                    <a:lnTo>
                      <a:pt x="2559" y="3714"/>
                    </a:lnTo>
                    <a:lnTo>
                      <a:pt x="2477" y="3738"/>
                    </a:lnTo>
                    <a:lnTo>
                      <a:pt x="2391" y="3758"/>
                    </a:lnTo>
                    <a:lnTo>
                      <a:pt x="2305" y="3772"/>
                    </a:lnTo>
                    <a:lnTo>
                      <a:pt x="2217" y="3784"/>
                    </a:lnTo>
                    <a:lnTo>
                      <a:pt x="2129" y="3790"/>
                    </a:lnTo>
                    <a:lnTo>
                      <a:pt x="2039" y="3794"/>
                    </a:lnTo>
                    <a:lnTo>
                      <a:pt x="2039" y="3794"/>
                    </a:lnTo>
                    <a:lnTo>
                      <a:pt x="1948" y="3790"/>
                    </a:lnTo>
                    <a:lnTo>
                      <a:pt x="1860" y="3784"/>
                    </a:lnTo>
                    <a:lnTo>
                      <a:pt x="1772" y="3772"/>
                    </a:lnTo>
                    <a:lnTo>
                      <a:pt x="1686" y="3758"/>
                    </a:lnTo>
                    <a:lnTo>
                      <a:pt x="1602" y="3738"/>
                    </a:lnTo>
                    <a:lnTo>
                      <a:pt x="1518" y="3714"/>
                    </a:lnTo>
                    <a:lnTo>
                      <a:pt x="1436" y="3686"/>
                    </a:lnTo>
                    <a:lnTo>
                      <a:pt x="1356" y="3654"/>
                    </a:lnTo>
                    <a:lnTo>
                      <a:pt x="1280" y="3620"/>
                    </a:lnTo>
                    <a:lnTo>
                      <a:pt x="1204" y="3580"/>
                    </a:lnTo>
                    <a:lnTo>
                      <a:pt x="1130" y="3538"/>
                    </a:lnTo>
                    <a:lnTo>
                      <a:pt x="1058" y="3494"/>
                    </a:lnTo>
                    <a:lnTo>
                      <a:pt x="990" y="3444"/>
                    </a:lnTo>
                    <a:lnTo>
                      <a:pt x="924" y="3392"/>
                    </a:lnTo>
                    <a:lnTo>
                      <a:pt x="860" y="3336"/>
                    </a:lnTo>
                    <a:lnTo>
                      <a:pt x="798" y="3278"/>
                    </a:lnTo>
                    <a:lnTo>
                      <a:pt x="740" y="3218"/>
                    </a:lnTo>
                    <a:lnTo>
                      <a:pt x="686" y="3154"/>
                    </a:lnTo>
                    <a:lnTo>
                      <a:pt x="634" y="3088"/>
                    </a:lnTo>
                    <a:lnTo>
                      <a:pt x="584" y="3018"/>
                    </a:lnTo>
                    <a:lnTo>
                      <a:pt x="538" y="2948"/>
                    </a:lnTo>
                    <a:lnTo>
                      <a:pt x="496" y="2874"/>
                    </a:lnTo>
                    <a:lnTo>
                      <a:pt x="458" y="2798"/>
                    </a:lnTo>
                    <a:lnTo>
                      <a:pt x="422" y="2720"/>
                    </a:lnTo>
                    <a:lnTo>
                      <a:pt x="392" y="2642"/>
                    </a:lnTo>
                    <a:lnTo>
                      <a:pt x="364" y="2560"/>
                    </a:lnTo>
                    <a:lnTo>
                      <a:pt x="340" y="2476"/>
                    </a:lnTo>
                    <a:lnTo>
                      <a:pt x="320" y="2392"/>
                    </a:lnTo>
                    <a:lnTo>
                      <a:pt x="304" y="2306"/>
                    </a:lnTo>
                    <a:lnTo>
                      <a:pt x="294" y="2218"/>
                    </a:lnTo>
                    <a:lnTo>
                      <a:pt x="286" y="2128"/>
                    </a:lnTo>
                    <a:lnTo>
                      <a:pt x="284" y="2038"/>
                    </a:lnTo>
                    <a:lnTo>
                      <a:pt x="284" y="2038"/>
                    </a:lnTo>
                    <a:lnTo>
                      <a:pt x="286" y="1948"/>
                    </a:lnTo>
                    <a:lnTo>
                      <a:pt x="294" y="1860"/>
                    </a:lnTo>
                    <a:lnTo>
                      <a:pt x="304" y="1772"/>
                    </a:lnTo>
                    <a:lnTo>
                      <a:pt x="320" y="1686"/>
                    </a:lnTo>
                    <a:lnTo>
                      <a:pt x="340" y="1600"/>
                    </a:lnTo>
                    <a:lnTo>
                      <a:pt x="364" y="1518"/>
                    </a:lnTo>
                    <a:lnTo>
                      <a:pt x="392" y="1436"/>
                    </a:lnTo>
                    <a:lnTo>
                      <a:pt x="422" y="1356"/>
                    </a:lnTo>
                    <a:lnTo>
                      <a:pt x="458" y="1278"/>
                    </a:lnTo>
                    <a:lnTo>
                      <a:pt x="496" y="1202"/>
                    </a:lnTo>
                    <a:lnTo>
                      <a:pt x="538" y="1130"/>
                    </a:lnTo>
                    <a:lnTo>
                      <a:pt x="584" y="1058"/>
                    </a:lnTo>
                    <a:lnTo>
                      <a:pt x="634" y="990"/>
                    </a:lnTo>
                    <a:lnTo>
                      <a:pt x="686" y="922"/>
                    </a:lnTo>
                    <a:lnTo>
                      <a:pt x="740" y="860"/>
                    </a:lnTo>
                    <a:lnTo>
                      <a:pt x="798" y="798"/>
                    </a:lnTo>
                    <a:lnTo>
                      <a:pt x="860" y="740"/>
                    </a:lnTo>
                    <a:lnTo>
                      <a:pt x="924" y="684"/>
                    </a:lnTo>
                    <a:lnTo>
                      <a:pt x="990" y="632"/>
                    </a:lnTo>
                    <a:lnTo>
                      <a:pt x="1058" y="584"/>
                    </a:lnTo>
                    <a:lnTo>
                      <a:pt x="1130" y="538"/>
                    </a:lnTo>
                    <a:lnTo>
                      <a:pt x="1204" y="496"/>
                    </a:lnTo>
                    <a:lnTo>
                      <a:pt x="1280" y="456"/>
                    </a:lnTo>
                    <a:lnTo>
                      <a:pt x="1356" y="422"/>
                    </a:lnTo>
                    <a:lnTo>
                      <a:pt x="1436" y="390"/>
                    </a:lnTo>
                    <a:lnTo>
                      <a:pt x="1518" y="362"/>
                    </a:lnTo>
                    <a:lnTo>
                      <a:pt x="1602" y="338"/>
                    </a:lnTo>
                    <a:lnTo>
                      <a:pt x="1686" y="320"/>
                    </a:lnTo>
                    <a:lnTo>
                      <a:pt x="1772" y="304"/>
                    </a:lnTo>
                    <a:lnTo>
                      <a:pt x="1860" y="292"/>
                    </a:lnTo>
                    <a:lnTo>
                      <a:pt x="1948" y="286"/>
                    </a:lnTo>
                    <a:lnTo>
                      <a:pt x="2039" y="284"/>
                    </a:lnTo>
                    <a:lnTo>
                      <a:pt x="2039" y="2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</p:grpSp>
        <p:grpSp>
          <p:nvGrpSpPr>
            <p:cNvPr id="202" name="Group 153">
              <a:extLst>
                <a:ext uri="{FF2B5EF4-FFF2-40B4-BE49-F238E27FC236}">
                  <a16:creationId xmlns:a16="http://schemas.microsoft.com/office/drawing/2014/main" id="{F53C5444-343F-453F-BE6E-408EBA12006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910786" y="5746764"/>
              <a:ext cx="467142" cy="467421"/>
              <a:chOff x="988" y="0"/>
              <a:chExt cx="6700" cy="6704"/>
            </a:xfrm>
            <a:solidFill>
              <a:schemeClr val="bg1"/>
            </a:solidFill>
          </p:grpSpPr>
          <p:sp>
            <p:nvSpPr>
              <p:cNvPr id="203" name="Freeform 154">
                <a:extLst>
                  <a:ext uri="{FF2B5EF4-FFF2-40B4-BE49-F238E27FC236}">
                    <a16:creationId xmlns:a16="http://schemas.microsoft.com/office/drawing/2014/main" id="{F634FA65-402A-49BE-8F98-7B9FF0EA5C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8" y="0"/>
                <a:ext cx="6700" cy="6704"/>
              </a:xfrm>
              <a:custGeom>
                <a:avLst/>
                <a:gdLst>
                  <a:gd name="T0" fmla="*/ 0 w 6700"/>
                  <a:gd name="T1" fmla="*/ 0 h 6704"/>
                  <a:gd name="T2" fmla="*/ 0 w 6700"/>
                  <a:gd name="T3" fmla="*/ 6704 h 6704"/>
                  <a:gd name="T4" fmla="*/ 6700 w 6700"/>
                  <a:gd name="T5" fmla="*/ 6704 h 6704"/>
                  <a:gd name="T6" fmla="*/ 6700 w 6700"/>
                  <a:gd name="T7" fmla="*/ 0 h 6704"/>
                  <a:gd name="T8" fmla="*/ 0 w 6700"/>
                  <a:gd name="T9" fmla="*/ 0 h 6704"/>
                  <a:gd name="T10" fmla="*/ 284 w 6700"/>
                  <a:gd name="T11" fmla="*/ 286 h 6704"/>
                  <a:gd name="T12" fmla="*/ 6414 w 6700"/>
                  <a:gd name="T13" fmla="*/ 286 h 6704"/>
                  <a:gd name="T14" fmla="*/ 6414 w 6700"/>
                  <a:gd name="T15" fmla="*/ 1048 h 6704"/>
                  <a:gd name="T16" fmla="*/ 1046 w 6700"/>
                  <a:gd name="T17" fmla="*/ 1048 h 6704"/>
                  <a:gd name="T18" fmla="*/ 1046 w 6700"/>
                  <a:gd name="T19" fmla="*/ 6418 h 6704"/>
                  <a:gd name="T20" fmla="*/ 284 w 6700"/>
                  <a:gd name="T21" fmla="*/ 6418 h 6704"/>
                  <a:gd name="T22" fmla="*/ 284 w 6700"/>
                  <a:gd name="T23" fmla="*/ 286 h 6704"/>
                  <a:gd name="T24" fmla="*/ 2091 w 6700"/>
                  <a:gd name="T25" fmla="*/ 6418 h 6704"/>
                  <a:gd name="T26" fmla="*/ 1332 w 6700"/>
                  <a:gd name="T27" fmla="*/ 6418 h 6704"/>
                  <a:gd name="T28" fmla="*/ 1332 w 6700"/>
                  <a:gd name="T29" fmla="*/ 1334 h 6704"/>
                  <a:gd name="T30" fmla="*/ 6414 w 6700"/>
                  <a:gd name="T31" fmla="*/ 1334 h 6704"/>
                  <a:gd name="T32" fmla="*/ 6414 w 6700"/>
                  <a:gd name="T33" fmla="*/ 2094 h 6704"/>
                  <a:gd name="T34" fmla="*/ 2091 w 6700"/>
                  <a:gd name="T35" fmla="*/ 2094 h 6704"/>
                  <a:gd name="T36" fmla="*/ 2091 w 6700"/>
                  <a:gd name="T37" fmla="*/ 6418 h 6704"/>
                  <a:gd name="T38" fmla="*/ 2377 w 6700"/>
                  <a:gd name="T39" fmla="*/ 6418 h 6704"/>
                  <a:gd name="T40" fmla="*/ 2377 w 6700"/>
                  <a:gd name="T41" fmla="*/ 2380 h 6704"/>
                  <a:gd name="T42" fmla="*/ 6414 w 6700"/>
                  <a:gd name="T43" fmla="*/ 2380 h 6704"/>
                  <a:gd name="T44" fmla="*/ 6414 w 6700"/>
                  <a:gd name="T45" fmla="*/ 6418 h 6704"/>
                  <a:gd name="T46" fmla="*/ 2377 w 6700"/>
                  <a:gd name="T47" fmla="*/ 6418 h 6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700" h="6704">
                    <a:moveTo>
                      <a:pt x="0" y="0"/>
                    </a:moveTo>
                    <a:lnTo>
                      <a:pt x="0" y="6704"/>
                    </a:lnTo>
                    <a:lnTo>
                      <a:pt x="6700" y="6704"/>
                    </a:lnTo>
                    <a:lnTo>
                      <a:pt x="6700" y="0"/>
                    </a:lnTo>
                    <a:lnTo>
                      <a:pt x="0" y="0"/>
                    </a:lnTo>
                    <a:close/>
                    <a:moveTo>
                      <a:pt x="284" y="286"/>
                    </a:moveTo>
                    <a:lnTo>
                      <a:pt x="6414" y="286"/>
                    </a:lnTo>
                    <a:lnTo>
                      <a:pt x="6414" y="1048"/>
                    </a:lnTo>
                    <a:lnTo>
                      <a:pt x="1046" y="1048"/>
                    </a:lnTo>
                    <a:lnTo>
                      <a:pt x="1046" y="6418"/>
                    </a:lnTo>
                    <a:lnTo>
                      <a:pt x="284" y="6418"/>
                    </a:lnTo>
                    <a:lnTo>
                      <a:pt x="284" y="286"/>
                    </a:lnTo>
                    <a:close/>
                    <a:moveTo>
                      <a:pt x="2091" y="6418"/>
                    </a:moveTo>
                    <a:lnTo>
                      <a:pt x="1332" y="6418"/>
                    </a:lnTo>
                    <a:lnTo>
                      <a:pt x="1332" y="1334"/>
                    </a:lnTo>
                    <a:lnTo>
                      <a:pt x="6414" y="1334"/>
                    </a:lnTo>
                    <a:lnTo>
                      <a:pt x="6414" y="2094"/>
                    </a:lnTo>
                    <a:lnTo>
                      <a:pt x="2091" y="2094"/>
                    </a:lnTo>
                    <a:lnTo>
                      <a:pt x="2091" y="6418"/>
                    </a:lnTo>
                    <a:close/>
                    <a:moveTo>
                      <a:pt x="2377" y="6418"/>
                    </a:moveTo>
                    <a:lnTo>
                      <a:pt x="2377" y="2380"/>
                    </a:lnTo>
                    <a:lnTo>
                      <a:pt x="6414" y="2380"/>
                    </a:lnTo>
                    <a:lnTo>
                      <a:pt x="6414" y="6418"/>
                    </a:lnTo>
                    <a:lnTo>
                      <a:pt x="2377" y="6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4" name="Freeform 155">
                <a:extLst>
                  <a:ext uri="{FF2B5EF4-FFF2-40B4-BE49-F238E27FC236}">
                    <a16:creationId xmlns:a16="http://schemas.microsoft.com/office/drawing/2014/main" id="{1BE9DE6C-4859-4850-BE8F-FF9D221098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77" y="3006"/>
                <a:ext cx="2225" cy="2706"/>
              </a:xfrm>
              <a:custGeom>
                <a:avLst/>
                <a:gdLst>
                  <a:gd name="T0" fmla="*/ 1785 w 2225"/>
                  <a:gd name="T1" fmla="*/ 672 h 2706"/>
                  <a:gd name="T2" fmla="*/ 1781 w 2225"/>
                  <a:gd name="T3" fmla="*/ 604 h 2706"/>
                  <a:gd name="T4" fmla="*/ 1771 w 2225"/>
                  <a:gd name="T5" fmla="*/ 538 h 2706"/>
                  <a:gd name="T6" fmla="*/ 1755 w 2225"/>
                  <a:gd name="T7" fmla="*/ 472 h 2706"/>
                  <a:gd name="T8" fmla="*/ 1732 w 2225"/>
                  <a:gd name="T9" fmla="*/ 410 h 2706"/>
                  <a:gd name="T10" fmla="*/ 1704 w 2225"/>
                  <a:gd name="T11" fmla="*/ 352 h 2706"/>
                  <a:gd name="T12" fmla="*/ 1670 w 2225"/>
                  <a:gd name="T13" fmla="*/ 296 h 2706"/>
                  <a:gd name="T14" fmla="*/ 1632 w 2225"/>
                  <a:gd name="T15" fmla="*/ 244 h 2706"/>
                  <a:gd name="T16" fmla="*/ 1588 w 2225"/>
                  <a:gd name="T17" fmla="*/ 198 h 2706"/>
                  <a:gd name="T18" fmla="*/ 1540 w 2225"/>
                  <a:gd name="T19" fmla="*/ 154 h 2706"/>
                  <a:gd name="T20" fmla="*/ 1488 w 2225"/>
                  <a:gd name="T21" fmla="*/ 116 h 2706"/>
                  <a:gd name="T22" fmla="*/ 1434 w 2225"/>
                  <a:gd name="T23" fmla="*/ 82 h 2706"/>
                  <a:gd name="T24" fmla="*/ 1374 w 2225"/>
                  <a:gd name="T25" fmla="*/ 52 h 2706"/>
                  <a:gd name="T26" fmla="*/ 1312 w 2225"/>
                  <a:gd name="T27" fmla="*/ 30 h 2706"/>
                  <a:gd name="T28" fmla="*/ 1248 w 2225"/>
                  <a:gd name="T29" fmla="*/ 14 h 2706"/>
                  <a:gd name="T30" fmla="*/ 1182 w 2225"/>
                  <a:gd name="T31" fmla="*/ 4 h 2706"/>
                  <a:gd name="T32" fmla="*/ 1114 w 2225"/>
                  <a:gd name="T33" fmla="*/ 0 h 2706"/>
                  <a:gd name="T34" fmla="*/ 1078 w 2225"/>
                  <a:gd name="T35" fmla="*/ 0 h 2706"/>
                  <a:gd name="T36" fmla="*/ 1010 w 2225"/>
                  <a:gd name="T37" fmla="*/ 8 h 2706"/>
                  <a:gd name="T38" fmla="*/ 946 w 2225"/>
                  <a:gd name="T39" fmla="*/ 22 h 2706"/>
                  <a:gd name="T40" fmla="*/ 882 w 2225"/>
                  <a:gd name="T41" fmla="*/ 40 h 2706"/>
                  <a:gd name="T42" fmla="*/ 822 w 2225"/>
                  <a:gd name="T43" fmla="*/ 66 h 2706"/>
                  <a:gd name="T44" fmla="*/ 764 w 2225"/>
                  <a:gd name="T45" fmla="*/ 98 h 2706"/>
                  <a:gd name="T46" fmla="*/ 712 w 2225"/>
                  <a:gd name="T47" fmla="*/ 134 h 2706"/>
                  <a:gd name="T48" fmla="*/ 662 w 2225"/>
                  <a:gd name="T49" fmla="*/ 174 h 2706"/>
                  <a:gd name="T50" fmla="*/ 616 w 2225"/>
                  <a:gd name="T51" fmla="*/ 220 h 2706"/>
                  <a:gd name="T52" fmla="*/ 574 w 2225"/>
                  <a:gd name="T53" fmla="*/ 270 h 2706"/>
                  <a:gd name="T54" fmla="*/ 538 w 2225"/>
                  <a:gd name="T55" fmla="*/ 324 h 2706"/>
                  <a:gd name="T56" fmla="*/ 508 w 2225"/>
                  <a:gd name="T57" fmla="*/ 382 h 2706"/>
                  <a:gd name="T58" fmla="*/ 482 w 2225"/>
                  <a:gd name="T59" fmla="*/ 442 h 2706"/>
                  <a:gd name="T60" fmla="*/ 462 w 2225"/>
                  <a:gd name="T61" fmla="*/ 504 h 2706"/>
                  <a:gd name="T62" fmla="*/ 448 w 2225"/>
                  <a:gd name="T63" fmla="*/ 570 h 2706"/>
                  <a:gd name="T64" fmla="*/ 442 w 2225"/>
                  <a:gd name="T65" fmla="*/ 638 h 2706"/>
                  <a:gd name="T66" fmla="*/ 440 w 2225"/>
                  <a:gd name="T67" fmla="*/ 984 h 2706"/>
                  <a:gd name="T68" fmla="*/ 0 w 2225"/>
                  <a:gd name="T69" fmla="*/ 2706 h 2706"/>
                  <a:gd name="T70" fmla="*/ 2225 w 2225"/>
                  <a:gd name="T71" fmla="*/ 984 h 2706"/>
                  <a:gd name="T72" fmla="*/ 1785 w 2225"/>
                  <a:gd name="T73" fmla="*/ 672 h 2706"/>
                  <a:gd name="T74" fmla="*/ 726 w 2225"/>
                  <a:gd name="T75" fmla="*/ 672 h 2706"/>
                  <a:gd name="T76" fmla="*/ 734 w 2225"/>
                  <a:gd name="T77" fmla="*/ 594 h 2706"/>
                  <a:gd name="T78" fmla="*/ 758 w 2225"/>
                  <a:gd name="T79" fmla="*/ 522 h 2706"/>
                  <a:gd name="T80" fmla="*/ 792 w 2225"/>
                  <a:gd name="T81" fmla="*/ 456 h 2706"/>
                  <a:gd name="T82" fmla="*/ 840 w 2225"/>
                  <a:gd name="T83" fmla="*/ 400 h 2706"/>
                  <a:gd name="T84" fmla="*/ 898 w 2225"/>
                  <a:gd name="T85" fmla="*/ 352 h 2706"/>
                  <a:gd name="T86" fmla="*/ 962 w 2225"/>
                  <a:gd name="T87" fmla="*/ 316 h 2706"/>
                  <a:gd name="T88" fmla="*/ 1036 w 2225"/>
                  <a:gd name="T89" fmla="*/ 294 h 2706"/>
                  <a:gd name="T90" fmla="*/ 1114 w 2225"/>
                  <a:gd name="T91" fmla="*/ 286 h 2706"/>
                  <a:gd name="T92" fmla="*/ 1152 w 2225"/>
                  <a:gd name="T93" fmla="*/ 288 h 2706"/>
                  <a:gd name="T94" fmla="*/ 1228 w 2225"/>
                  <a:gd name="T95" fmla="*/ 304 h 2706"/>
                  <a:gd name="T96" fmla="*/ 1298 w 2225"/>
                  <a:gd name="T97" fmla="*/ 332 h 2706"/>
                  <a:gd name="T98" fmla="*/ 1358 w 2225"/>
                  <a:gd name="T99" fmla="*/ 374 h 2706"/>
                  <a:gd name="T100" fmla="*/ 1412 w 2225"/>
                  <a:gd name="T101" fmla="*/ 426 h 2706"/>
                  <a:gd name="T102" fmla="*/ 1452 w 2225"/>
                  <a:gd name="T103" fmla="*/ 488 h 2706"/>
                  <a:gd name="T104" fmla="*/ 1482 w 2225"/>
                  <a:gd name="T105" fmla="*/ 558 h 2706"/>
                  <a:gd name="T106" fmla="*/ 1498 w 2225"/>
                  <a:gd name="T107" fmla="*/ 632 h 2706"/>
                  <a:gd name="T108" fmla="*/ 1500 w 2225"/>
                  <a:gd name="T109" fmla="*/ 984 h 2706"/>
                  <a:gd name="T110" fmla="*/ 726 w 2225"/>
                  <a:gd name="T111" fmla="*/ 672 h 2706"/>
                  <a:gd name="T112" fmla="*/ 286 w 2225"/>
                  <a:gd name="T113" fmla="*/ 2420 h 2706"/>
                  <a:gd name="T114" fmla="*/ 1939 w 2225"/>
                  <a:gd name="T115" fmla="*/ 1270 h 2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25" h="2706">
                    <a:moveTo>
                      <a:pt x="1785" y="672"/>
                    </a:moveTo>
                    <a:lnTo>
                      <a:pt x="1785" y="672"/>
                    </a:lnTo>
                    <a:lnTo>
                      <a:pt x="1783" y="638"/>
                    </a:lnTo>
                    <a:lnTo>
                      <a:pt x="1781" y="604"/>
                    </a:lnTo>
                    <a:lnTo>
                      <a:pt x="1777" y="570"/>
                    </a:lnTo>
                    <a:lnTo>
                      <a:pt x="1771" y="538"/>
                    </a:lnTo>
                    <a:lnTo>
                      <a:pt x="1763" y="504"/>
                    </a:lnTo>
                    <a:lnTo>
                      <a:pt x="1755" y="472"/>
                    </a:lnTo>
                    <a:lnTo>
                      <a:pt x="1743" y="442"/>
                    </a:lnTo>
                    <a:lnTo>
                      <a:pt x="1732" y="410"/>
                    </a:lnTo>
                    <a:lnTo>
                      <a:pt x="1720" y="382"/>
                    </a:lnTo>
                    <a:lnTo>
                      <a:pt x="1704" y="352"/>
                    </a:lnTo>
                    <a:lnTo>
                      <a:pt x="1688" y="324"/>
                    </a:lnTo>
                    <a:lnTo>
                      <a:pt x="1670" y="296"/>
                    </a:lnTo>
                    <a:lnTo>
                      <a:pt x="1652" y="270"/>
                    </a:lnTo>
                    <a:lnTo>
                      <a:pt x="1632" y="244"/>
                    </a:lnTo>
                    <a:lnTo>
                      <a:pt x="1610" y="220"/>
                    </a:lnTo>
                    <a:lnTo>
                      <a:pt x="1588" y="198"/>
                    </a:lnTo>
                    <a:lnTo>
                      <a:pt x="1564" y="174"/>
                    </a:lnTo>
                    <a:lnTo>
                      <a:pt x="1540" y="154"/>
                    </a:lnTo>
                    <a:lnTo>
                      <a:pt x="1516" y="134"/>
                    </a:lnTo>
                    <a:lnTo>
                      <a:pt x="1488" y="116"/>
                    </a:lnTo>
                    <a:lnTo>
                      <a:pt x="1462" y="98"/>
                    </a:lnTo>
                    <a:lnTo>
                      <a:pt x="1434" y="82"/>
                    </a:lnTo>
                    <a:lnTo>
                      <a:pt x="1404" y="66"/>
                    </a:lnTo>
                    <a:lnTo>
                      <a:pt x="1374" y="52"/>
                    </a:lnTo>
                    <a:lnTo>
                      <a:pt x="1344" y="40"/>
                    </a:lnTo>
                    <a:lnTo>
                      <a:pt x="1312" y="30"/>
                    </a:lnTo>
                    <a:lnTo>
                      <a:pt x="1280" y="22"/>
                    </a:lnTo>
                    <a:lnTo>
                      <a:pt x="1248" y="14"/>
                    </a:lnTo>
                    <a:lnTo>
                      <a:pt x="1216" y="8"/>
                    </a:lnTo>
                    <a:lnTo>
                      <a:pt x="1182" y="4"/>
                    </a:lnTo>
                    <a:lnTo>
                      <a:pt x="1148" y="0"/>
                    </a:lnTo>
                    <a:lnTo>
                      <a:pt x="1114" y="0"/>
                    </a:lnTo>
                    <a:lnTo>
                      <a:pt x="1114" y="0"/>
                    </a:lnTo>
                    <a:lnTo>
                      <a:pt x="1078" y="0"/>
                    </a:lnTo>
                    <a:lnTo>
                      <a:pt x="1044" y="4"/>
                    </a:lnTo>
                    <a:lnTo>
                      <a:pt x="1010" y="8"/>
                    </a:lnTo>
                    <a:lnTo>
                      <a:pt x="978" y="14"/>
                    </a:lnTo>
                    <a:lnTo>
                      <a:pt x="946" y="22"/>
                    </a:lnTo>
                    <a:lnTo>
                      <a:pt x="914" y="30"/>
                    </a:lnTo>
                    <a:lnTo>
                      <a:pt x="882" y="40"/>
                    </a:lnTo>
                    <a:lnTo>
                      <a:pt x="852" y="52"/>
                    </a:lnTo>
                    <a:lnTo>
                      <a:pt x="822" y="66"/>
                    </a:lnTo>
                    <a:lnTo>
                      <a:pt x="792" y="82"/>
                    </a:lnTo>
                    <a:lnTo>
                      <a:pt x="764" y="98"/>
                    </a:lnTo>
                    <a:lnTo>
                      <a:pt x="738" y="116"/>
                    </a:lnTo>
                    <a:lnTo>
                      <a:pt x="712" y="134"/>
                    </a:lnTo>
                    <a:lnTo>
                      <a:pt x="686" y="154"/>
                    </a:lnTo>
                    <a:lnTo>
                      <a:pt x="662" y="174"/>
                    </a:lnTo>
                    <a:lnTo>
                      <a:pt x="638" y="198"/>
                    </a:lnTo>
                    <a:lnTo>
                      <a:pt x="616" y="220"/>
                    </a:lnTo>
                    <a:lnTo>
                      <a:pt x="594" y="244"/>
                    </a:lnTo>
                    <a:lnTo>
                      <a:pt x="574" y="270"/>
                    </a:lnTo>
                    <a:lnTo>
                      <a:pt x="556" y="296"/>
                    </a:lnTo>
                    <a:lnTo>
                      <a:pt x="538" y="324"/>
                    </a:lnTo>
                    <a:lnTo>
                      <a:pt x="522" y="352"/>
                    </a:lnTo>
                    <a:lnTo>
                      <a:pt x="508" y="382"/>
                    </a:lnTo>
                    <a:lnTo>
                      <a:pt x="494" y="410"/>
                    </a:lnTo>
                    <a:lnTo>
                      <a:pt x="482" y="442"/>
                    </a:lnTo>
                    <a:lnTo>
                      <a:pt x="472" y="472"/>
                    </a:lnTo>
                    <a:lnTo>
                      <a:pt x="462" y="504"/>
                    </a:lnTo>
                    <a:lnTo>
                      <a:pt x="454" y="538"/>
                    </a:lnTo>
                    <a:lnTo>
                      <a:pt x="448" y="570"/>
                    </a:lnTo>
                    <a:lnTo>
                      <a:pt x="444" y="604"/>
                    </a:lnTo>
                    <a:lnTo>
                      <a:pt x="442" y="638"/>
                    </a:lnTo>
                    <a:lnTo>
                      <a:pt x="440" y="672"/>
                    </a:lnTo>
                    <a:lnTo>
                      <a:pt x="440" y="984"/>
                    </a:lnTo>
                    <a:lnTo>
                      <a:pt x="0" y="984"/>
                    </a:lnTo>
                    <a:lnTo>
                      <a:pt x="0" y="2706"/>
                    </a:lnTo>
                    <a:lnTo>
                      <a:pt x="2225" y="2706"/>
                    </a:lnTo>
                    <a:lnTo>
                      <a:pt x="2225" y="984"/>
                    </a:lnTo>
                    <a:lnTo>
                      <a:pt x="1785" y="984"/>
                    </a:lnTo>
                    <a:lnTo>
                      <a:pt x="1785" y="672"/>
                    </a:lnTo>
                    <a:close/>
                    <a:moveTo>
                      <a:pt x="726" y="672"/>
                    </a:moveTo>
                    <a:lnTo>
                      <a:pt x="726" y="672"/>
                    </a:lnTo>
                    <a:lnTo>
                      <a:pt x="728" y="632"/>
                    </a:lnTo>
                    <a:lnTo>
                      <a:pt x="734" y="594"/>
                    </a:lnTo>
                    <a:lnTo>
                      <a:pt x="744" y="558"/>
                    </a:lnTo>
                    <a:lnTo>
                      <a:pt x="758" y="522"/>
                    </a:lnTo>
                    <a:lnTo>
                      <a:pt x="774" y="488"/>
                    </a:lnTo>
                    <a:lnTo>
                      <a:pt x="792" y="456"/>
                    </a:lnTo>
                    <a:lnTo>
                      <a:pt x="816" y="426"/>
                    </a:lnTo>
                    <a:lnTo>
                      <a:pt x="840" y="400"/>
                    </a:lnTo>
                    <a:lnTo>
                      <a:pt x="868" y="374"/>
                    </a:lnTo>
                    <a:lnTo>
                      <a:pt x="898" y="352"/>
                    </a:lnTo>
                    <a:lnTo>
                      <a:pt x="930" y="332"/>
                    </a:lnTo>
                    <a:lnTo>
                      <a:pt x="962" y="316"/>
                    </a:lnTo>
                    <a:lnTo>
                      <a:pt x="998" y="304"/>
                    </a:lnTo>
                    <a:lnTo>
                      <a:pt x="1036" y="294"/>
                    </a:lnTo>
                    <a:lnTo>
                      <a:pt x="1074" y="288"/>
                    </a:lnTo>
                    <a:lnTo>
                      <a:pt x="1114" y="286"/>
                    </a:lnTo>
                    <a:lnTo>
                      <a:pt x="1114" y="286"/>
                    </a:lnTo>
                    <a:lnTo>
                      <a:pt x="1152" y="288"/>
                    </a:lnTo>
                    <a:lnTo>
                      <a:pt x="1190" y="294"/>
                    </a:lnTo>
                    <a:lnTo>
                      <a:pt x="1228" y="304"/>
                    </a:lnTo>
                    <a:lnTo>
                      <a:pt x="1264" y="316"/>
                    </a:lnTo>
                    <a:lnTo>
                      <a:pt x="1298" y="332"/>
                    </a:lnTo>
                    <a:lnTo>
                      <a:pt x="1330" y="352"/>
                    </a:lnTo>
                    <a:lnTo>
                      <a:pt x="1358" y="374"/>
                    </a:lnTo>
                    <a:lnTo>
                      <a:pt x="1386" y="400"/>
                    </a:lnTo>
                    <a:lnTo>
                      <a:pt x="1412" y="426"/>
                    </a:lnTo>
                    <a:lnTo>
                      <a:pt x="1434" y="456"/>
                    </a:lnTo>
                    <a:lnTo>
                      <a:pt x="1452" y="488"/>
                    </a:lnTo>
                    <a:lnTo>
                      <a:pt x="1470" y="522"/>
                    </a:lnTo>
                    <a:lnTo>
                      <a:pt x="1482" y="558"/>
                    </a:lnTo>
                    <a:lnTo>
                      <a:pt x="1492" y="594"/>
                    </a:lnTo>
                    <a:lnTo>
                      <a:pt x="1498" y="632"/>
                    </a:lnTo>
                    <a:lnTo>
                      <a:pt x="1500" y="672"/>
                    </a:lnTo>
                    <a:lnTo>
                      <a:pt x="1500" y="984"/>
                    </a:lnTo>
                    <a:lnTo>
                      <a:pt x="726" y="984"/>
                    </a:lnTo>
                    <a:lnTo>
                      <a:pt x="726" y="672"/>
                    </a:lnTo>
                    <a:close/>
                    <a:moveTo>
                      <a:pt x="1939" y="2420"/>
                    </a:moveTo>
                    <a:lnTo>
                      <a:pt x="286" y="2420"/>
                    </a:lnTo>
                    <a:lnTo>
                      <a:pt x="286" y="1270"/>
                    </a:lnTo>
                    <a:lnTo>
                      <a:pt x="1939" y="1270"/>
                    </a:lnTo>
                    <a:lnTo>
                      <a:pt x="1939" y="24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5" name="Rectangle 156">
                <a:extLst>
                  <a:ext uri="{FF2B5EF4-FFF2-40B4-BE49-F238E27FC236}">
                    <a16:creationId xmlns:a16="http://schemas.microsoft.com/office/drawing/2014/main" id="{0250C131-9853-4EC4-B799-4F6F8E54A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7" y="4636"/>
                <a:ext cx="286" cy="4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</p:grpSp>
        <p:grpSp>
          <p:nvGrpSpPr>
            <p:cNvPr id="206" name="Group 159">
              <a:extLst>
                <a:ext uri="{FF2B5EF4-FFF2-40B4-BE49-F238E27FC236}">
                  <a16:creationId xmlns:a16="http://schemas.microsoft.com/office/drawing/2014/main" id="{CFB6CAD4-7689-4508-818D-7228BC80D25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570492" y="5746764"/>
              <a:ext cx="467490" cy="467421"/>
              <a:chOff x="986" y="0"/>
              <a:chExt cx="6714" cy="6713"/>
            </a:xfrm>
            <a:solidFill>
              <a:schemeClr val="bg1"/>
            </a:solidFill>
          </p:grpSpPr>
          <p:sp>
            <p:nvSpPr>
              <p:cNvPr id="207" name="Freeform 160">
                <a:extLst>
                  <a:ext uri="{FF2B5EF4-FFF2-40B4-BE49-F238E27FC236}">
                    <a16:creationId xmlns:a16="http://schemas.microsoft.com/office/drawing/2014/main" id="{76108A67-2976-4072-8DF0-7C160BBF9E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6" y="0"/>
                <a:ext cx="6714" cy="6713"/>
              </a:xfrm>
              <a:custGeom>
                <a:avLst/>
                <a:gdLst>
                  <a:gd name="T0" fmla="*/ 0 w 6714"/>
                  <a:gd name="T1" fmla="*/ 0 h 6713"/>
                  <a:gd name="T2" fmla="*/ 0 w 6714"/>
                  <a:gd name="T3" fmla="*/ 6713 h 6713"/>
                  <a:gd name="T4" fmla="*/ 6714 w 6714"/>
                  <a:gd name="T5" fmla="*/ 6713 h 6713"/>
                  <a:gd name="T6" fmla="*/ 6714 w 6714"/>
                  <a:gd name="T7" fmla="*/ 0 h 6713"/>
                  <a:gd name="T8" fmla="*/ 0 w 6714"/>
                  <a:gd name="T9" fmla="*/ 0 h 6713"/>
                  <a:gd name="T10" fmla="*/ 6428 w 6714"/>
                  <a:gd name="T11" fmla="*/ 4819 h 6713"/>
                  <a:gd name="T12" fmla="*/ 2920 w 6714"/>
                  <a:gd name="T13" fmla="*/ 4819 h 6713"/>
                  <a:gd name="T14" fmla="*/ 4242 w 6714"/>
                  <a:gd name="T15" fmla="*/ 3497 h 6713"/>
                  <a:gd name="T16" fmla="*/ 5106 w 6714"/>
                  <a:gd name="T17" fmla="*/ 3497 h 6713"/>
                  <a:gd name="T18" fmla="*/ 5378 w 6714"/>
                  <a:gd name="T19" fmla="*/ 3222 h 6713"/>
                  <a:gd name="T20" fmla="*/ 5378 w 6714"/>
                  <a:gd name="T21" fmla="*/ 3499 h 6713"/>
                  <a:gd name="T22" fmla="*/ 5668 w 6714"/>
                  <a:gd name="T23" fmla="*/ 3499 h 6713"/>
                  <a:gd name="T24" fmla="*/ 5668 w 6714"/>
                  <a:gd name="T25" fmla="*/ 3212 h 6713"/>
                  <a:gd name="T26" fmla="*/ 5386 w 6714"/>
                  <a:gd name="T27" fmla="*/ 3212 h 6713"/>
                  <a:gd name="T28" fmla="*/ 6428 w 6714"/>
                  <a:gd name="T29" fmla="*/ 2160 h 6713"/>
                  <a:gd name="T30" fmla="*/ 6428 w 6714"/>
                  <a:gd name="T31" fmla="*/ 4819 h 6713"/>
                  <a:gd name="T32" fmla="*/ 288 w 6714"/>
                  <a:gd name="T33" fmla="*/ 5107 h 6713"/>
                  <a:gd name="T34" fmla="*/ 1404 w 6714"/>
                  <a:gd name="T35" fmla="*/ 5107 h 6713"/>
                  <a:gd name="T36" fmla="*/ 288 w 6714"/>
                  <a:gd name="T37" fmla="*/ 6225 h 6713"/>
                  <a:gd name="T38" fmla="*/ 288 w 6714"/>
                  <a:gd name="T39" fmla="*/ 5107 h 6713"/>
                  <a:gd name="T40" fmla="*/ 288 w 6714"/>
                  <a:gd name="T41" fmla="*/ 4819 h 6713"/>
                  <a:gd name="T42" fmla="*/ 288 w 6714"/>
                  <a:gd name="T43" fmla="*/ 3499 h 6713"/>
                  <a:gd name="T44" fmla="*/ 454 w 6714"/>
                  <a:gd name="T45" fmla="*/ 3499 h 6713"/>
                  <a:gd name="T46" fmla="*/ 454 w 6714"/>
                  <a:gd name="T47" fmla="*/ 3212 h 6713"/>
                  <a:gd name="T48" fmla="*/ 288 w 6714"/>
                  <a:gd name="T49" fmla="*/ 3212 h 6713"/>
                  <a:gd name="T50" fmla="*/ 288 w 6714"/>
                  <a:gd name="T51" fmla="*/ 1892 h 6713"/>
                  <a:gd name="T52" fmla="*/ 6290 w 6714"/>
                  <a:gd name="T53" fmla="*/ 1892 h 6713"/>
                  <a:gd name="T54" fmla="*/ 4986 w 6714"/>
                  <a:gd name="T55" fmla="*/ 3210 h 6713"/>
                  <a:gd name="T56" fmla="*/ 4124 w 6714"/>
                  <a:gd name="T57" fmla="*/ 3210 h 6713"/>
                  <a:gd name="T58" fmla="*/ 3930 w 6714"/>
                  <a:gd name="T59" fmla="*/ 3405 h 6713"/>
                  <a:gd name="T60" fmla="*/ 3930 w 6714"/>
                  <a:gd name="T61" fmla="*/ 3212 h 6713"/>
                  <a:gd name="T62" fmla="*/ 3640 w 6714"/>
                  <a:gd name="T63" fmla="*/ 3212 h 6713"/>
                  <a:gd name="T64" fmla="*/ 3640 w 6714"/>
                  <a:gd name="T65" fmla="*/ 3499 h 6713"/>
                  <a:gd name="T66" fmla="*/ 3834 w 6714"/>
                  <a:gd name="T67" fmla="*/ 3499 h 6713"/>
                  <a:gd name="T68" fmla="*/ 2514 w 6714"/>
                  <a:gd name="T69" fmla="*/ 4819 h 6713"/>
                  <a:gd name="T70" fmla="*/ 288 w 6714"/>
                  <a:gd name="T71" fmla="*/ 4819 h 6713"/>
                  <a:gd name="T72" fmla="*/ 6428 w 6714"/>
                  <a:gd name="T73" fmla="*/ 286 h 6713"/>
                  <a:gd name="T74" fmla="*/ 6428 w 6714"/>
                  <a:gd name="T75" fmla="*/ 1606 h 6713"/>
                  <a:gd name="T76" fmla="*/ 288 w 6714"/>
                  <a:gd name="T77" fmla="*/ 1606 h 6713"/>
                  <a:gd name="T78" fmla="*/ 288 w 6714"/>
                  <a:gd name="T79" fmla="*/ 286 h 6713"/>
                  <a:gd name="T80" fmla="*/ 6428 w 6714"/>
                  <a:gd name="T81" fmla="*/ 286 h 6713"/>
                  <a:gd name="T82" fmla="*/ 490 w 6714"/>
                  <a:gd name="T83" fmla="*/ 6427 h 6713"/>
                  <a:gd name="T84" fmla="*/ 1810 w 6714"/>
                  <a:gd name="T85" fmla="*/ 5107 h 6713"/>
                  <a:gd name="T86" fmla="*/ 6428 w 6714"/>
                  <a:gd name="T87" fmla="*/ 5107 h 6713"/>
                  <a:gd name="T88" fmla="*/ 6428 w 6714"/>
                  <a:gd name="T89" fmla="*/ 6427 h 6713"/>
                  <a:gd name="T90" fmla="*/ 490 w 6714"/>
                  <a:gd name="T91" fmla="*/ 6427 h 6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714" h="6713">
                    <a:moveTo>
                      <a:pt x="0" y="0"/>
                    </a:moveTo>
                    <a:lnTo>
                      <a:pt x="0" y="6713"/>
                    </a:lnTo>
                    <a:lnTo>
                      <a:pt x="6714" y="6713"/>
                    </a:lnTo>
                    <a:lnTo>
                      <a:pt x="6714" y="0"/>
                    </a:lnTo>
                    <a:lnTo>
                      <a:pt x="0" y="0"/>
                    </a:lnTo>
                    <a:close/>
                    <a:moveTo>
                      <a:pt x="6428" y="4819"/>
                    </a:moveTo>
                    <a:lnTo>
                      <a:pt x="2920" y="4819"/>
                    </a:lnTo>
                    <a:lnTo>
                      <a:pt x="4242" y="3497"/>
                    </a:lnTo>
                    <a:lnTo>
                      <a:pt x="5106" y="3497"/>
                    </a:lnTo>
                    <a:lnTo>
                      <a:pt x="5378" y="3222"/>
                    </a:lnTo>
                    <a:lnTo>
                      <a:pt x="5378" y="3499"/>
                    </a:lnTo>
                    <a:lnTo>
                      <a:pt x="5668" y="3499"/>
                    </a:lnTo>
                    <a:lnTo>
                      <a:pt x="5668" y="3212"/>
                    </a:lnTo>
                    <a:lnTo>
                      <a:pt x="5386" y="3212"/>
                    </a:lnTo>
                    <a:lnTo>
                      <a:pt x="6428" y="2160"/>
                    </a:lnTo>
                    <a:lnTo>
                      <a:pt x="6428" y="4819"/>
                    </a:lnTo>
                    <a:close/>
                    <a:moveTo>
                      <a:pt x="288" y="5107"/>
                    </a:moveTo>
                    <a:lnTo>
                      <a:pt x="1404" y="5107"/>
                    </a:lnTo>
                    <a:lnTo>
                      <a:pt x="288" y="6225"/>
                    </a:lnTo>
                    <a:lnTo>
                      <a:pt x="288" y="5107"/>
                    </a:lnTo>
                    <a:close/>
                    <a:moveTo>
                      <a:pt x="288" y="4819"/>
                    </a:moveTo>
                    <a:lnTo>
                      <a:pt x="288" y="3499"/>
                    </a:lnTo>
                    <a:lnTo>
                      <a:pt x="454" y="3499"/>
                    </a:lnTo>
                    <a:lnTo>
                      <a:pt x="454" y="3212"/>
                    </a:lnTo>
                    <a:lnTo>
                      <a:pt x="288" y="3212"/>
                    </a:lnTo>
                    <a:lnTo>
                      <a:pt x="288" y="1892"/>
                    </a:lnTo>
                    <a:lnTo>
                      <a:pt x="6290" y="1892"/>
                    </a:lnTo>
                    <a:lnTo>
                      <a:pt x="4986" y="3210"/>
                    </a:lnTo>
                    <a:lnTo>
                      <a:pt x="4124" y="3210"/>
                    </a:lnTo>
                    <a:lnTo>
                      <a:pt x="3930" y="3405"/>
                    </a:lnTo>
                    <a:lnTo>
                      <a:pt x="3930" y="3212"/>
                    </a:lnTo>
                    <a:lnTo>
                      <a:pt x="3640" y="3212"/>
                    </a:lnTo>
                    <a:lnTo>
                      <a:pt x="3640" y="3499"/>
                    </a:lnTo>
                    <a:lnTo>
                      <a:pt x="3834" y="3499"/>
                    </a:lnTo>
                    <a:lnTo>
                      <a:pt x="2514" y="4819"/>
                    </a:lnTo>
                    <a:lnTo>
                      <a:pt x="288" y="4819"/>
                    </a:lnTo>
                    <a:close/>
                    <a:moveTo>
                      <a:pt x="6428" y="286"/>
                    </a:moveTo>
                    <a:lnTo>
                      <a:pt x="6428" y="1606"/>
                    </a:lnTo>
                    <a:lnTo>
                      <a:pt x="288" y="1606"/>
                    </a:lnTo>
                    <a:lnTo>
                      <a:pt x="288" y="286"/>
                    </a:lnTo>
                    <a:lnTo>
                      <a:pt x="6428" y="286"/>
                    </a:lnTo>
                    <a:close/>
                    <a:moveTo>
                      <a:pt x="490" y="6427"/>
                    </a:moveTo>
                    <a:lnTo>
                      <a:pt x="1810" y="5107"/>
                    </a:lnTo>
                    <a:lnTo>
                      <a:pt x="6428" y="5107"/>
                    </a:lnTo>
                    <a:lnTo>
                      <a:pt x="6428" y="6427"/>
                    </a:lnTo>
                    <a:lnTo>
                      <a:pt x="490" y="64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8" name="Rectangle 161">
                <a:extLst>
                  <a:ext uri="{FF2B5EF4-FFF2-40B4-BE49-F238E27FC236}">
                    <a16:creationId xmlns:a16="http://schemas.microsoft.com/office/drawing/2014/main" id="{E91E27AD-904B-4B2F-9E11-0BD34EC0AD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4" y="3212"/>
                <a:ext cx="288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09" name="Rectangle 162">
                <a:extLst>
                  <a:ext uri="{FF2B5EF4-FFF2-40B4-BE49-F238E27FC236}">
                    <a16:creationId xmlns:a16="http://schemas.microsoft.com/office/drawing/2014/main" id="{75A3CB72-5154-4FA0-B07D-957D88FB37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46" y="3212"/>
                <a:ext cx="290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10" name="Rectangle 163">
                <a:extLst>
                  <a:ext uri="{FF2B5EF4-FFF2-40B4-BE49-F238E27FC236}">
                    <a16:creationId xmlns:a16="http://schemas.microsoft.com/office/drawing/2014/main" id="{6267AF82-1046-4753-B73F-E56AEF6B8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8" y="3212"/>
                <a:ext cx="288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11" name="Rectangle 164">
                <a:extLst>
                  <a:ext uri="{FF2B5EF4-FFF2-40B4-BE49-F238E27FC236}">
                    <a16:creationId xmlns:a16="http://schemas.microsoft.com/office/drawing/2014/main" id="{DD0CF9F6-17C0-416B-B479-BE807966B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8" y="3212"/>
                <a:ext cx="290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12" name="Rectangle 165">
                <a:extLst>
                  <a:ext uri="{FF2B5EF4-FFF2-40B4-BE49-F238E27FC236}">
                    <a16:creationId xmlns:a16="http://schemas.microsoft.com/office/drawing/2014/main" id="{373B9C55-C9AC-47DA-B359-1614F2E64C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30" y="3212"/>
                <a:ext cx="288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  <p:sp>
            <p:nvSpPr>
              <p:cNvPr id="213" name="Rectangle 166">
                <a:extLst>
                  <a:ext uri="{FF2B5EF4-FFF2-40B4-BE49-F238E27FC236}">
                    <a16:creationId xmlns:a16="http://schemas.microsoft.com/office/drawing/2014/main" id="{A8E5D9E0-CE16-4ACC-90B1-59B5B31768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8" y="3212"/>
                <a:ext cx="290" cy="2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 dirty="0"/>
              </a:p>
            </p:txBody>
          </p:sp>
        </p:grpSp>
      </p:grpSp>
      <p:sp>
        <p:nvSpPr>
          <p:cNvPr id="214" name="Google Shape;5386;p388">
            <a:extLst>
              <a:ext uri="{FF2B5EF4-FFF2-40B4-BE49-F238E27FC236}">
                <a16:creationId xmlns:a16="http://schemas.microsoft.com/office/drawing/2014/main" id="{C2681E14-E2F0-4720-A50F-A4313539DE9E}"/>
              </a:ext>
            </a:extLst>
          </p:cNvPr>
          <p:cNvSpPr/>
          <p:nvPr/>
        </p:nvSpPr>
        <p:spPr>
          <a:xfrm>
            <a:off x="8595727" y="6091067"/>
            <a:ext cx="1050138" cy="4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 dirty="0">
                <a:latin typeface="Georgia" panose="02040502050405020303" pitchFamily="18" charset="0"/>
              </a:rPr>
              <a:t>Pre-Investment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15" name="Google Shape;5386;p388">
            <a:extLst>
              <a:ext uri="{FF2B5EF4-FFF2-40B4-BE49-F238E27FC236}">
                <a16:creationId xmlns:a16="http://schemas.microsoft.com/office/drawing/2014/main" id="{AEB881B9-9E6D-4D59-823B-D7CABB091648}"/>
              </a:ext>
            </a:extLst>
          </p:cNvPr>
          <p:cNvSpPr/>
          <p:nvPr/>
        </p:nvSpPr>
        <p:spPr>
          <a:xfrm>
            <a:off x="9448831" y="6091067"/>
            <a:ext cx="1335354" cy="4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 dirty="0">
                <a:latin typeface="Georgia" panose="02040502050405020303" pitchFamily="18" charset="0"/>
              </a:rPr>
              <a:t>During</a:t>
            </a:r>
          </a:p>
          <a:p>
            <a:pPr algn="ctr"/>
            <a:r>
              <a:rPr lang="en" sz="1200" b="1" dirty="0">
                <a:latin typeface="Georgia" panose="02040502050405020303" pitchFamily="18" charset="0"/>
              </a:rPr>
              <a:t>Investment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16" name="Google Shape;5386;p388">
            <a:extLst>
              <a:ext uri="{FF2B5EF4-FFF2-40B4-BE49-F238E27FC236}">
                <a16:creationId xmlns:a16="http://schemas.microsoft.com/office/drawing/2014/main" id="{E8BD5A6C-BD72-4E88-93D6-4F435A18E7C0}"/>
              </a:ext>
            </a:extLst>
          </p:cNvPr>
          <p:cNvSpPr/>
          <p:nvPr/>
        </p:nvSpPr>
        <p:spPr>
          <a:xfrm>
            <a:off x="10501400" y="6074661"/>
            <a:ext cx="1335354" cy="4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 dirty="0">
                <a:latin typeface="Georgia" panose="02040502050405020303" pitchFamily="18" charset="0"/>
              </a:rPr>
              <a:t>Post</a:t>
            </a:r>
          </a:p>
          <a:p>
            <a:pPr algn="ctr"/>
            <a:r>
              <a:rPr lang="en" sz="1200" b="1" dirty="0">
                <a:latin typeface="Georgia" panose="02040502050405020303" pitchFamily="18" charset="0"/>
              </a:rPr>
              <a:t>Investment</a:t>
            </a:r>
            <a:endParaRPr sz="1200" b="1" dirty="0">
              <a:latin typeface="Georgia" panose="02040502050405020303" pitchFamily="18" charset="0"/>
            </a:endParaRP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4AA6757-BDD3-4A86-8BD0-DCFC9100D310}"/>
              </a:ext>
            </a:extLst>
          </p:cNvPr>
          <p:cNvGrpSpPr/>
          <p:nvPr/>
        </p:nvGrpSpPr>
        <p:grpSpPr>
          <a:xfrm>
            <a:off x="8926541" y="3004710"/>
            <a:ext cx="2618234" cy="1749397"/>
            <a:chOff x="332185" y="1826800"/>
            <a:chExt cx="4120403" cy="4120404"/>
          </a:xfrm>
        </p:grpSpPr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26B877A5-863C-4206-81D2-BC273E89F6A2}"/>
                </a:ext>
              </a:extLst>
            </p:cNvPr>
            <p:cNvSpPr/>
            <p:nvPr/>
          </p:nvSpPr>
          <p:spPr>
            <a:xfrm>
              <a:off x="332185" y="1826800"/>
              <a:ext cx="2023132" cy="202313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61568" bIns="61568" rtlCol="0" anchor="t"/>
            <a:lstStyle/>
            <a:p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Founders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C5D902FE-880B-4086-996C-6C8C494819CC}"/>
                </a:ext>
              </a:extLst>
            </p:cNvPr>
            <p:cNvSpPr/>
            <p:nvPr/>
          </p:nvSpPr>
          <p:spPr>
            <a:xfrm>
              <a:off x="2429456" y="1826800"/>
              <a:ext cx="2023132" cy="202313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61568" bIns="61568" rtlCol="0" anchor="t"/>
            <a:lstStyle/>
            <a:p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vestors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6FA5C1FC-4BE4-46F1-B720-35F04AFA9D22}"/>
                </a:ext>
              </a:extLst>
            </p:cNvPr>
            <p:cNvSpPr/>
            <p:nvPr/>
          </p:nvSpPr>
          <p:spPr>
            <a:xfrm>
              <a:off x="332185" y="3924072"/>
              <a:ext cx="2023132" cy="2023132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61568" bIns="61568" rtlCol="0" anchor="ctr"/>
            <a:lstStyle/>
            <a:p>
              <a:endParaRPr lang="en-GB" sz="1200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  <a:p>
              <a:endParaRPr lang="en-GB" sz="1200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  <a:p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oard Members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2420DFCD-0DD6-4C33-BA31-2227066D840F}"/>
                </a:ext>
              </a:extLst>
            </p:cNvPr>
            <p:cNvSpPr/>
            <p:nvPr/>
          </p:nvSpPr>
          <p:spPr>
            <a:xfrm>
              <a:off x="2429456" y="3924072"/>
              <a:ext cx="2023132" cy="20231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tIns="61568" bIns="61568" rtlCol="0" anchor="ctr"/>
            <a:lstStyle/>
            <a:p>
              <a:endParaRPr lang="en-GB" sz="12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endParaRPr lang="en-GB" sz="12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r>
                <a:rPr lang="en-GB" sz="12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Employees</a:t>
              </a:r>
            </a:p>
          </p:txBody>
        </p:sp>
        <p:sp>
          <p:nvSpPr>
            <p:cNvPr id="222" name="Frame 221">
              <a:extLst>
                <a:ext uri="{FF2B5EF4-FFF2-40B4-BE49-F238E27FC236}">
                  <a16:creationId xmlns:a16="http://schemas.microsoft.com/office/drawing/2014/main" id="{6F6D67CE-6DC4-4FC6-BDD2-186D5D25A882}"/>
                </a:ext>
              </a:extLst>
            </p:cNvPr>
            <p:cNvSpPr/>
            <p:nvPr/>
          </p:nvSpPr>
          <p:spPr>
            <a:xfrm>
              <a:off x="1912906" y="3305473"/>
              <a:ext cx="954218" cy="1167456"/>
            </a:xfrm>
            <a:prstGeom prst="frame">
              <a:avLst>
                <a:gd name="adj1" fmla="val 6220"/>
              </a:avLst>
            </a:prstGeom>
            <a:solidFill>
              <a:schemeClr val="bg1"/>
            </a:solidFill>
            <a:ln w="762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368" dirty="0"/>
            </a:p>
          </p:txBody>
        </p: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id="{CFECB938-7468-4279-916D-26AC1677D55B}"/>
                </a:ext>
              </a:extLst>
            </p:cNvPr>
            <p:cNvGrpSpPr/>
            <p:nvPr/>
          </p:nvGrpSpPr>
          <p:grpSpPr>
            <a:xfrm>
              <a:off x="447482" y="3305472"/>
              <a:ext cx="430046" cy="429981"/>
              <a:chOff x="590920" y="2274258"/>
              <a:chExt cx="720107" cy="720000"/>
            </a:xfrm>
            <a:solidFill>
              <a:schemeClr val="bg1"/>
            </a:solidFill>
          </p:grpSpPr>
          <p:sp>
            <p:nvSpPr>
              <p:cNvPr id="238" name="Freeform 5">
                <a:extLst>
                  <a:ext uri="{FF2B5EF4-FFF2-40B4-BE49-F238E27FC236}">
                    <a16:creationId xmlns:a16="http://schemas.microsoft.com/office/drawing/2014/main" id="{F066D317-D030-455D-8FF2-BC07589F64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920" y="2274258"/>
                <a:ext cx="720107" cy="720000"/>
              </a:xfrm>
              <a:custGeom>
                <a:avLst/>
                <a:gdLst>
                  <a:gd name="T0" fmla="*/ 6628 w 6628"/>
                  <a:gd name="T1" fmla="*/ 5435 h 6627"/>
                  <a:gd name="T2" fmla="*/ 6628 w 6628"/>
                  <a:gd name="T3" fmla="*/ 0 h 6627"/>
                  <a:gd name="T4" fmla="*/ 0 w 6628"/>
                  <a:gd name="T5" fmla="*/ 0 h 6627"/>
                  <a:gd name="T6" fmla="*/ 0 w 6628"/>
                  <a:gd name="T7" fmla="*/ 5435 h 6627"/>
                  <a:gd name="T8" fmla="*/ 2061 w 6628"/>
                  <a:gd name="T9" fmla="*/ 5435 h 6627"/>
                  <a:gd name="T10" fmla="*/ 2061 w 6628"/>
                  <a:gd name="T11" fmla="*/ 6343 h 6627"/>
                  <a:gd name="T12" fmla="*/ 1118 w 6628"/>
                  <a:gd name="T13" fmla="*/ 6343 h 6627"/>
                  <a:gd name="T14" fmla="*/ 1118 w 6628"/>
                  <a:gd name="T15" fmla="*/ 6627 h 6627"/>
                  <a:gd name="T16" fmla="*/ 5508 w 6628"/>
                  <a:gd name="T17" fmla="*/ 6627 h 6627"/>
                  <a:gd name="T18" fmla="*/ 5508 w 6628"/>
                  <a:gd name="T19" fmla="*/ 6343 h 6627"/>
                  <a:gd name="T20" fmla="*/ 4565 w 6628"/>
                  <a:gd name="T21" fmla="*/ 6343 h 6627"/>
                  <a:gd name="T22" fmla="*/ 4565 w 6628"/>
                  <a:gd name="T23" fmla="*/ 5435 h 6627"/>
                  <a:gd name="T24" fmla="*/ 6628 w 6628"/>
                  <a:gd name="T25" fmla="*/ 5435 h 6627"/>
                  <a:gd name="T26" fmla="*/ 282 w 6628"/>
                  <a:gd name="T27" fmla="*/ 282 h 6627"/>
                  <a:gd name="T28" fmla="*/ 6344 w 6628"/>
                  <a:gd name="T29" fmla="*/ 282 h 6627"/>
                  <a:gd name="T30" fmla="*/ 6344 w 6628"/>
                  <a:gd name="T31" fmla="*/ 5153 h 6627"/>
                  <a:gd name="T32" fmla="*/ 282 w 6628"/>
                  <a:gd name="T33" fmla="*/ 5153 h 6627"/>
                  <a:gd name="T34" fmla="*/ 282 w 6628"/>
                  <a:gd name="T35" fmla="*/ 282 h 6627"/>
                  <a:gd name="T36" fmla="*/ 4283 w 6628"/>
                  <a:gd name="T37" fmla="*/ 6343 h 6627"/>
                  <a:gd name="T38" fmla="*/ 2343 w 6628"/>
                  <a:gd name="T39" fmla="*/ 6343 h 6627"/>
                  <a:gd name="T40" fmla="*/ 2343 w 6628"/>
                  <a:gd name="T41" fmla="*/ 5435 h 6627"/>
                  <a:gd name="T42" fmla="*/ 4283 w 6628"/>
                  <a:gd name="T43" fmla="*/ 5435 h 6627"/>
                  <a:gd name="T44" fmla="*/ 4283 w 6628"/>
                  <a:gd name="T45" fmla="*/ 6343 h 6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28" h="6627">
                    <a:moveTo>
                      <a:pt x="6628" y="5435"/>
                    </a:moveTo>
                    <a:lnTo>
                      <a:pt x="6628" y="0"/>
                    </a:lnTo>
                    <a:lnTo>
                      <a:pt x="0" y="0"/>
                    </a:lnTo>
                    <a:lnTo>
                      <a:pt x="0" y="5435"/>
                    </a:lnTo>
                    <a:lnTo>
                      <a:pt x="2061" y="5435"/>
                    </a:lnTo>
                    <a:lnTo>
                      <a:pt x="2061" y="6343"/>
                    </a:lnTo>
                    <a:lnTo>
                      <a:pt x="1118" y="6343"/>
                    </a:lnTo>
                    <a:lnTo>
                      <a:pt x="1118" y="6627"/>
                    </a:lnTo>
                    <a:lnTo>
                      <a:pt x="5508" y="6627"/>
                    </a:lnTo>
                    <a:lnTo>
                      <a:pt x="5508" y="6343"/>
                    </a:lnTo>
                    <a:lnTo>
                      <a:pt x="4565" y="6343"/>
                    </a:lnTo>
                    <a:lnTo>
                      <a:pt x="4565" y="5435"/>
                    </a:lnTo>
                    <a:lnTo>
                      <a:pt x="6628" y="5435"/>
                    </a:lnTo>
                    <a:close/>
                    <a:moveTo>
                      <a:pt x="282" y="282"/>
                    </a:moveTo>
                    <a:lnTo>
                      <a:pt x="6344" y="282"/>
                    </a:lnTo>
                    <a:lnTo>
                      <a:pt x="6344" y="5153"/>
                    </a:lnTo>
                    <a:lnTo>
                      <a:pt x="282" y="5153"/>
                    </a:lnTo>
                    <a:lnTo>
                      <a:pt x="282" y="282"/>
                    </a:lnTo>
                    <a:close/>
                    <a:moveTo>
                      <a:pt x="4283" y="6343"/>
                    </a:moveTo>
                    <a:lnTo>
                      <a:pt x="2343" y="6343"/>
                    </a:lnTo>
                    <a:lnTo>
                      <a:pt x="2343" y="5435"/>
                    </a:lnTo>
                    <a:lnTo>
                      <a:pt x="4283" y="5435"/>
                    </a:lnTo>
                    <a:lnTo>
                      <a:pt x="4283" y="63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39" name="Freeform 6">
                <a:extLst>
                  <a:ext uri="{FF2B5EF4-FFF2-40B4-BE49-F238E27FC236}">
                    <a16:creationId xmlns:a16="http://schemas.microsoft.com/office/drawing/2014/main" id="{FFD2F245-6CD5-49DB-A15D-29CCA22A3C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9566" y="2428536"/>
                <a:ext cx="191326" cy="315183"/>
              </a:xfrm>
              <a:custGeom>
                <a:avLst/>
                <a:gdLst>
                  <a:gd name="T0" fmla="*/ 1579 w 1761"/>
                  <a:gd name="T1" fmla="*/ 698 h 2901"/>
                  <a:gd name="T2" fmla="*/ 1575 w 1761"/>
                  <a:gd name="T3" fmla="*/ 626 h 2901"/>
                  <a:gd name="T4" fmla="*/ 1565 w 1761"/>
                  <a:gd name="T5" fmla="*/ 558 h 2901"/>
                  <a:gd name="T6" fmla="*/ 1549 w 1761"/>
                  <a:gd name="T7" fmla="*/ 490 h 2901"/>
                  <a:gd name="T8" fmla="*/ 1525 w 1761"/>
                  <a:gd name="T9" fmla="*/ 426 h 2901"/>
                  <a:gd name="T10" fmla="*/ 1495 w 1761"/>
                  <a:gd name="T11" fmla="*/ 366 h 2901"/>
                  <a:gd name="T12" fmla="*/ 1461 w 1761"/>
                  <a:gd name="T13" fmla="*/ 308 h 2901"/>
                  <a:gd name="T14" fmla="*/ 1419 w 1761"/>
                  <a:gd name="T15" fmla="*/ 254 h 2901"/>
                  <a:gd name="T16" fmla="*/ 1375 w 1761"/>
                  <a:gd name="T17" fmla="*/ 204 h 2901"/>
                  <a:gd name="T18" fmla="*/ 1325 w 1761"/>
                  <a:gd name="T19" fmla="*/ 160 h 2901"/>
                  <a:gd name="T20" fmla="*/ 1271 w 1761"/>
                  <a:gd name="T21" fmla="*/ 118 h 2901"/>
                  <a:gd name="T22" fmla="*/ 1213 w 1761"/>
                  <a:gd name="T23" fmla="*/ 84 h 2901"/>
                  <a:gd name="T24" fmla="*/ 1153 w 1761"/>
                  <a:gd name="T25" fmla="*/ 54 h 2901"/>
                  <a:gd name="T26" fmla="*/ 1089 w 1761"/>
                  <a:gd name="T27" fmla="*/ 30 h 2901"/>
                  <a:gd name="T28" fmla="*/ 1021 w 1761"/>
                  <a:gd name="T29" fmla="*/ 14 h 2901"/>
                  <a:gd name="T30" fmla="*/ 953 w 1761"/>
                  <a:gd name="T31" fmla="*/ 4 h 2901"/>
                  <a:gd name="T32" fmla="*/ 881 w 1761"/>
                  <a:gd name="T33" fmla="*/ 0 h 2901"/>
                  <a:gd name="T34" fmla="*/ 845 w 1761"/>
                  <a:gd name="T35" fmla="*/ 0 h 2901"/>
                  <a:gd name="T36" fmla="*/ 775 w 1761"/>
                  <a:gd name="T37" fmla="*/ 8 h 2901"/>
                  <a:gd name="T38" fmla="*/ 707 w 1761"/>
                  <a:gd name="T39" fmla="*/ 22 h 2901"/>
                  <a:gd name="T40" fmla="*/ 640 w 1761"/>
                  <a:gd name="T41" fmla="*/ 42 h 2901"/>
                  <a:gd name="T42" fmla="*/ 578 w 1761"/>
                  <a:gd name="T43" fmla="*/ 68 h 2901"/>
                  <a:gd name="T44" fmla="*/ 518 w 1761"/>
                  <a:gd name="T45" fmla="*/ 100 h 2901"/>
                  <a:gd name="T46" fmla="*/ 462 w 1761"/>
                  <a:gd name="T47" fmla="*/ 138 h 2901"/>
                  <a:gd name="T48" fmla="*/ 410 w 1761"/>
                  <a:gd name="T49" fmla="*/ 182 h 2901"/>
                  <a:gd name="T50" fmla="*/ 364 w 1761"/>
                  <a:gd name="T51" fmla="*/ 228 h 2901"/>
                  <a:gd name="T52" fmla="*/ 320 w 1761"/>
                  <a:gd name="T53" fmla="*/ 280 h 2901"/>
                  <a:gd name="T54" fmla="*/ 282 w 1761"/>
                  <a:gd name="T55" fmla="*/ 336 h 2901"/>
                  <a:gd name="T56" fmla="*/ 250 w 1761"/>
                  <a:gd name="T57" fmla="*/ 396 h 2901"/>
                  <a:gd name="T58" fmla="*/ 224 w 1761"/>
                  <a:gd name="T59" fmla="*/ 458 h 2901"/>
                  <a:gd name="T60" fmla="*/ 204 w 1761"/>
                  <a:gd name="T61" fmla="*/ 524 h 2901"/>
                  <a:gd name="T62" fmla="*/ 190 w 1761"/>
                  <a:gd name="T63" fmla="*/ 592 h 2901"/>
                  <a:gd name="T64" fmla="*/ 182 w 1761"/>
                  <a:gd name="T65" fmla="*/ 662 h 2901"/>
                  <a:gd name="T66" fmla="*/ 182 w 1761"/>
                  <a:gd name="T67" fmla="*/ 948 h 2901"/>
                  <a:gd name="T68" fmla="*/ 0 w 1761"/>
                  <a:gd name="T69" fmla="*/ 2901 h 2901"/>
                  <a:gd name="T70" fmla="*/ 1761 w 1761"/>
                  <a:gd name="T71" fmla="*/ 948 h 2901"/>
                  <a:gd name="T72" fmla="*/ 1579 w 1761"/>
                  <a:gd name="T73" fmla="*/ 698 h 2901"/>
                  <a:gd name="T74" fmla="*/ 464 w 1761"/>
                  <a:gd name="T75" fmla="*/ 698 h 2901"/>
                  <a:gd name="T76" fmla="*/ 472 w 1761"/>
                  <a:gd name="T77" fmla="*/ 614 h 2901"/>
                  <a:gd name="T78" fmla="*/ 496 w 1761"/>
                  <a:gd name="T79" fmla="*/ 536 h 2901"/>
                  <a:gd name="T80" fmla="*/ 536 w 1761"/>
                  <a:gd name="T81" fmla="*/ 466 h 2901"/>
                  <a:gd name="T82" fmla="*/ 586 w 1761"/>
                  <a:gd name="T83" fmla="*/ 404 h 2901"/>
                  <a:gd name="T84" fmla="*/ 648 w 1761"/>
                  <a:gd name="T85" fmla="*/ 354 h 2901"/>
                  <a:gd name="T86" fmla="*/ 719 w 1761"/>
                  <a:gd name="T87" fmla="*/ 314 h 2901"/>
                  <a:gd name="T88" fmla="*/ 797 w 1761"/>
                  <a:gd name="T89" fmla="*/ 290 h 2901"/>
                  <a:gd name="T90" fmla="*/ 881 w 1761"/>
                  <a:gd name="T91" fmla="*/ 282 h 2901"/>
                  <a:gd name="T92" fmla="*/ 923 w 1761"/>
                  <a:gd name="T93" fmla="*/ 284 h 2901"/>
                  <a:gd name="T94" fmla="*/ 1005 w 1761"/>
                  <a:gd name="T95" fmla="*/ 300 h 2901"/>
                  <a:gd name="T96" fmla="*/ 1079 w 1761"/>
                  <a:gd name="T97" fmla="*/ 332 h 2901"/>
                  <a:gd name="T98" fmla="*/ 1145 w 1761"/>
                  <a:gd name="T99" fmla="*/ 378 h 2901"/>
                  <a:gd name="T100" fmla="*/ 1201 w 1761"/>
                  <a:gd name="T101" fmla="*/ 434 h 2901"/>
                  <a:gd name="T102" fmla="*/ 1247 w 1761"/>
                  <a:gd name="T103" fmla="*/ 502 h 2901"/>
                  <a:gd name="T104" fmla="*/ 1279 w 1761"/>
                  <a:gd name="T105" fmla="*/ 576 h 2901"/>
                  <a:gd name="T106" fmla="*/ 1295 w 1761"/>
                  <a:gd name="T107" fmla="*/ 658 h 2901"/>
                  <a:gd name="T108" fmla="*/ 1303 w 1761"/>
                  <a:gd name="T109" fmla="*/ 948 h 2901"/>
                  <a:gd name="T110" fmla="*/ 464 w 1761"/>
                  <a:gd name="T111" fmla="*/ 698 h 2901"/>
                  <a:gd name="T112" fmla="*/ 282 w 1761"/>
                  <a:gd name="T113" fmla="*/ 2619 h 2901"/>
                  <a:gd name="T114" fmla="*/ 1479 w 1761"/>
                  <a:gd name="T115" fmla="*/ 1230 h 2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61" h="2901">
                    <a:moveTo>
                      <a:pt x="1579" y="698"/>
                    </a:moveTo>
                    <a:lnTo>
                      <a:pt x="1579" y="698"/>
                    </a:lnTo>
                    <a:lnTo>
                      <a:pt x="1579" y="662"/>
                    </a:lnTo>
                    <a:lnTo>
                      <a:pt x="1575" y="626"/>
                    </a:lnTo>
                    <a:lnTo>
                      <a:pt x="1571" y="592"/>
                    </a:lnTo>
                    <a:lnTo>
                      <a:pt x="1565" y="558"/>
                    </a:lnTo>
                    <a:lnTo>
                      <a:pt x="1557" y="524"/>
                    </a:lnTo>
                    <a:lnTo>
                      <a:pt x="1549" y="490"/>
                    </a:lnTo>
                    <a:lnTo>
                      <a:pt x="1537" y="458"/>
                    </a:lnTo>
                    <a:lnTo>
                      <a:pt x="1525" y="426"/>
                    </a:lnTo>
                    <a:lnTo>
                      <a:pt x="1511" y="396"/>
                    </a:lnTo>
                    <a:lnTo>
                      <a:pt x="1495" y="366"/>
                    </a:lnTo>
                    <a:lnTo>
                      <a:pt x="1479" y="336"/>
                    </a:lnTo>
                    <a:lnTo>
                      <a:pt x="1461" y="308"/>
                    </a:lnTo>
                    <a:lnTo>
                      <a:pt x="1441" y="280"/>
                    </a:lnTo>
                    <a:lnTo>
                      <a:pt x="1419" y="254"/>
                    </a:lnTo>
                    <a:lnTo>
                      <a:pt x="1397" y="228"/>
                    </a:lnTo>
                    <a:lnTo>
                      <a:pt x="1375" y="204"/>
                    </a:lnTo>
                    <a:lnTo>
                      <a:pt x="1351" y="182"/>
                    </a:lnTo>
                    <a:lnTo>
                      <a:pt x="1325" y="160"/>
                    </a:lnTo>
                    <a:lnTo>
                      <a:pt x="1299" y="138"/>
                    </a:lnTo>
                    <a:lnTo>
                      <a:pt x="1271" y="118"/>
                    </a:lnTo>
                    <a:lnTo>
                      <a:pt x="1243" y="100"/>
                    </a:lnTo>
                    <a:lnTo>
                      <a:pt x="1213" y="84"/>
                    </a:lnTo>
                    <a:lnTo>
                      <a:pt x="1183" y="68"/>
                    </a:lnTo>
                    <a:lnTo>
                      <a:pt x="1153" y="54"/>
                    </a:lnTo>
                    <a:lnTo>
                      <a:pt x="1121" y="42"/>
                    </a:lnTo>
                    <a:lnTo>
                      <a:pt x="1089" y="30"/>
                    </a:lnTo>
                    <a:lnTo>
                      <a:pt x="1055" y="22"/>
                    </a:lnTo>
                    <a:lnTo>
                      <a:pt x="1021" y="14"/>
                    </a:lnTo>
                    <a:lnTo>
                      <a:pt x="987" y="8"/>
                    </a:lnTo>
                    <a:lnTo>
                      <a:pt x="953" y="4"/>
                    </a:lnTo>
                    <a:lnTo>
                      <a:pt x="917" y="0"/>
                    </a:lnTo>
                    <a:lnTo>
                      <a:pt x="881" y="0"/>
                    </a:lnTo>
                    <a:lnTo>
                      <a:pt x="881" y="0"/>
                    </a:lnTo>
                    <a:lnTo>
                      <a:pt x="845" y="0"/>
                    </a:lnTo>
                    <a:lnTo>
                      <a:pt x="809" y="4"/>
                    </a:lnTo>
                    <a:lnTo>
                      <a:pt x="775" y="8"/>
                    </a:lnTo>
                    <a:lnTo>
                      <a:pt x="741" y="14"/>
                    </a:lnTo>
                    <a:lnTo>
                      <a:pt x="707" y="22"/>
                    </a:lnTo>
                    <a:lnTo>
                      <a:pt x="673" y="30"/>
                    </a:lnTo>
                    <a:lnTo>
                      <a:pt x="640" y="42"/>
                    </a:lnTo>
                    <a:lnTo>
                      <a:pt x="608" y="54"/>
                    </a:lnTo>
                    <a:lnTo>
                      <a:pt x="578" y="68"/>
                    </a:lnTo>
                    <a:lnTo>
                      <a:pt x="548" y="84"/>
                    </a:lnTo>
                    <a:lnTo>
                      <a:pt x="518" y="100"/>
                    </a:lnTo>
                    <a:lnTo>
                      <a:pt x="490" y="118"/>
                    </a:lnTo>
                    <a:lnTo>
                      <a:pt x="462" y="138"/>
                    </a:lnTo>
                    <a:lnTo>
                      <a:pt x="436" y="160"/>
                    </a:lnTo>
                    <a:lnTo>
                      <a:pt x="410" y="182"/>
                    </a:lnTo>
                    <a:lnTo>
                      <a:pt x="386" y="204"/>
                    </a:lnTo>
                    <a:lnTo>
                      <a:pt x="364" y="228"/>
                    </a:lnTo>
                    <a:lnTo>
                      <a:pt x="342" y="254"/>
                    </a:lnTo>
                    <a:lnTo>
                      <a:pt x="320" y="280"/>
                    </a:lnTo>
                    <a:lnTo>
                      <a:pt x="302" y="308"/>
                    </a:lnTo>
                    <a:lnTo>
                      <a:pt x="282" y="336"/>
                    </a:lnTo>
                    <a:lnTo>
                      <a:pt x="266" y="366"/>
                    </a:lnTo>
                    <a:lnTo>
                      <a:pt x="250" y="396"/>
                    </a:lnTo>
                    <a:lnTo>
                      <a:pt x="236" y="426"/>
                    </a:lnTo>
                    <a:lnTo>
                      <a:pt x="224" y="458"/>
                    </a:lnTo>
                    <a:lnTo>
                      <a:pt x="214" y="490"/>
                    </a:lnTo>
                    <a:lnTo>
                      <a:pt x="204" y="524"/>
                    </a:lnTo>
                    <a:lnTo>
                      <a:pt x="196" y="558"/>
                    </a:lnTo>
                    <a:lnTo>
                      <a:pt x="190" y="592"/>
                    </a:lnTo>
                    <a:lnTo>
                      <a:pt x="186" y="626"/>
                    </a:lnTo>
                    <a:lnTo>
                      <a:pt x="182" y="662"/>
                    </a:lnTo>
                    <a:lnTo>
                      <a:pt x="182" y="698"/>
                    </a:lnTo>
                    <a:lnTo>
                      <a:pt x="182" y="948"/>
                    </a:lnTo>
                    <a:lnTo>
                      <a:pt x="0" y="948"/>
                    </a:lnTo>
                    <a:lnTo>
                      <a:pt x="0" y="2901"/>
                    </a:lnTo>
                    <a:lnTo>
                      <a:pt x="1761" y="2901"/>
                    </a:lnTo>
                    <a:lnTo>
                      <a:pt x="1761" y="948"/>
                    </a:lnTo>
                    <a:lnTo>
                      <a:pt x="1585" y="948"/>
                    </a:lnTo>
                    <a:lnTo>
                      <a:pt x="1579" y="698"/>
                    </a:lnTo>
                    <a:close/>
                    <a:moveTo>
                      <a:pt x="464" y="698"/>
                    </a:moveTo>
                    <a:lnTo>
                      <a:pt x="464" y="698"/>
                    </a:lnTo>
                    <a:lnTo>
                      <a:pt x="466" y="656"/>
                    </a:lnTo>
                    <a:lnTo>
                      <a:pt x="472" y="614"/>
                    </a:lnTo>
                    <a:lnTo>
                      <a:pt x="482" y="574"/>
                    </a:lnTo>
                    <a:lnTo>
                      <a:pt x="496" y="536"/>
                    </a:lnTo>
                    <a:lnTo>
                      <a:pt x="514" y="500"/>
                    </a:lnTo>
                    <a:lnTo>
                      <a:pt x="536" y="466"/>
                    </a:lnTo>
                    <a:lnTo>
                      <a:pt x="560" y="434"/>
                    </a:lnTo>
                    <a:lnTo>
                      <a:pt x="586" y="404"/>
                    </a:lnTo>
                    <a:lnTo>
                      <a:pt x="616" y="378"/>
                    </a:lnTo>
                    <a:lnTo>
                      <a:pt x="648" y="354"/>
                    </a:lnTo>
                    <a:lnTo>
                      <a:pt x="683" y="332"/>
                    </a:lnTo>
                    <a:lnTo>
                      <a:pt x="719" y="314"/>
                    </a:lnTo>
                    <a:lnTo>
                      <a:pt x="757" y="300"/>
                    </a:lnTo>
                    <a:lnTo>
                      <a:pt x="797" y="290"/>
                    </a:lnTo>
                    <a:lnTo>
                      <a:pt x="839" y="284"/>
                    </a:lnTo>
                    <a:lnTo>
                      <a:pt x="881" y="282"/>
                    </a:lnTo>
                    <a:lnTo>
                      <a:pt x="881" y="282"/>
                    </a:lnTo>
                    <a:lnTo>
                      <a:pt x="923" y="284"/>
                    </a:lnTo>
                    <a:lnTo>
                      <a:pt x="965" y="290"/>
                    </a:lnTo>
                    <a:lnTo>
                      <a:pt x="1005" y="300"/>
                    </a:lnTo>
                    <a:lnTo>
                      <a:pt x="1043" y="314"/>
                    </a:lnTo>
                    <a:lnTo>
                      <a:pt x="1079" y="332"/>
                    </a:lnTo>
                    <a:lnTo>
                      <a:pt x="1113" y="354"/>
                    </a:lnTo>
                    <a:lnTo>
                      <a:pt x="1145" y="378"/>
                    </a:lnTo>
                    <a:lnTo>
                      <a:pt x="1175" y="404"/>
                    </a:lnTo>
                    <a:lnTo>
                      <a:pt x="1201" y="434"/>
                    </a:lnTo>
                    <a:lnTo>
                      <a:pt x="1225" y="466"/>
                    </a:lnTo>
                    <a:lnTo>
                      <a:pt x="1247" y="502"/>
                    </a:lnTo>
                    <a:lnTo>
                      <a:pt x="1265" y="538"/>
                    </a:lnTo>
                    <a:lnTo>
                      <a:pt x="1279" y="576"/>
                    </a:lnTo>
                    <a:lnTo>
                      <a:pt x="1289" y="616"/>
                    </a:lnTo>
                    <a:lnTo>
                      <a:pt x="1295" y="658"/>
                    </a:lnTo>
                    <a:lnTo>
                      <a:pt x="1297" y="702"/>
                    </a:lnTo>
                    <a:lnTo>
                      <a:pt x="1303" y="948"/>
                    </a:lnTo>
                    <a:lnTo>
                      <a:pt x="464" y="948"/>
                    </a:lnTo>
                    <a:lnTo>
                      <a:pt x="464" y="698"/>
                    </a:lnTo>
                    <a:close/>
                    <a:moveTo>
                      <a:pt x="1479" y="2619"/>
                    </a:moveTo>
                    <a:lnTo>
                      <a:pt x="282" y="2619"/>
                    </a:lnTo>
                    <a:lnTo>
                      <a:pt x="282" y="1230"/>
                    </a:lnTo>
                    <a:lnTo>
                      <a:pt x="1479" y="1230"/>
                    </a:lnTo>
                    <a:lnTo>
                      <a:pt x="1479" y="26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40" name="Freeform 7">
                <a:extLst>
                  <a:ext uri="{FF2B5EF4-FFF2-40B4-BE49-F238E27FC236}">
                    <a16:creationId xmlns:a16="http://schemas.microsoft.com/office/drawing/2014/main" id="{FECEEA54-F994-4568-B86A-98BE7570F7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413" y="2577816"/>
                <a:ext cx="89633" cy="120054"/>
              </a:xfrm>
              <a:custGeom>
                <a:avLst/>
                <a:gdLst>
                  <a:gd name="T0" fmla="*/ 555 w 825"/>
                  <a:gd name="T1" fmla="*/ 1105 h 1105"/>
                  <a:gd name="T2" fmla="*/ 583 w 825"/>
                  <a:gd name="T3" fmla="*/ 785 h 1105"/>
                  <a:gd name="T4" fmla="*/ 663 w 825"/>
                  <a:gd name="T5" fmla="*/ 739 h 1105"/>
                  <a:gd name="T6" fmla="*/ 729 w 825"/>
                  <a:gd name="T7" fmla="*/ 675 h 1105"/>
                  <a:gd name="T8" fmla="*/ 781 w 825"/>
                  <a:gd name="T9" fmla="*/ 597 h 1105"/>
                  <a:gd name="T10" fmla="*/ 813 w 825"/>
                  <a:gd name="T11" fmla="*/ 508 h 1105"/>
                  <a:gd name="T12" fmla="*/ 825 w 825"/>
                  <a:gd name="T13" fmla="*/ 412 h 1105"/>
                  <a:gd name="T14" fmla="*/ 817 w 825"/>
                  <a:gd name="T15" fmla="*/ 328 h 1105"/>
                  <a:gd name="T16" fmla="*/ 775 w 825"/>
                  <a:gd name="T17" fmla="*/ 216 h 1105"/>
                  <a:gd name="T18" fmla="*/ 705 w 825"/>
                  <a:gd name="T19" fmla="*/ 120 h 1105"/>
                  <a:gd name="T20" fmla="*/ 609 w 825"/>
                  <a:gd name="T21" fmla="*/ 50 h 1105"/>
                  <a:gd name="T22" fmla="*/ 495 w 825"/>
                  <a:gd name="T23" fmla="*/ 8 h 1105"/>
                  <a:gd name="T24" fmla="*/ 413 w 825"/>
                  <a:gd name="T25" fmla="*/ 0 h 1105"/>
                  <a:gd name="T26" fmla="*/ 291 w 825"/>
                  <a:gd name="T27" fmla="*/ 18 h 1105"/>
                  <a:gd name="T28" fmla="*/ 182 w 825"/>
                  <a:gd name="T29" fmla="*/ 70 h 1105"/>
                  <a:gd name="T30" fmla="*/ 94 w 825"/>
                  <a:gd name="T31" fmla="*/ 150 h 1105"/>
                  <a:gd name="T32" fmla="*/ 32 w 825"/>
                  <a:gd name="T33" fmla="*/ 252 h 1105"/>
                  <a:gd name="T34" fmla="*/ 2 w 825"/>
                  <a:gd name="T35" fmla="*/ 370 h 1105"/>
                  <a:gd name="T36" fmla="*/ 2 w 825"/>
                  <a:gd name="T37" fmla="*/ 444 h 1105"/>
                  <a:gd name="T38" fmla="*/ 20 w 825"/>
                  <a:gd name="T39" fmla="*/ 539 h 1105"/>
                  <a:gd name="T40" fmla="*/ 60 w 825"/>
                  <a:gd name="T41" fmla="*/ 625 h 1105"/>
                  <a:gd name="T42" fmla="*/ 116 w 825"/>
                  <a:gd name="T43" fmla="*/ 697 h 1105"/>
                  <a:gd name="T44" fmla="*/ 188 w 825"/>
                  <a:gd name="T45" fmla="*/ 755 h 1105"/>
                  <a:gd name="T46" fmla="*/ 271 w 825"/>
                  <a:gd name="T47" fmla="*/ 797 h 1105"/>
                  <a:gd name="T48" fmla="*/ 413 w 825"/>
                  <a:gd name="T49" fmla="*/ 282 h 1105"/>
                  <a:gd name="T50" fmla="*/ 451 w 825"/>
                  <a:gd name="T51" fmla="*/ 288 h 1105"/>
                  <a:gd name="T52" fmla="*/ 485 w 825"/>
                  <a:gd name="T53" fmla="*/ 304 h 1105"/>
                  <a:gd name="T54" fmla="*/ 527 w 825"/>
                  <a:gd name="T55" fmla="*/ 350 h 1105"/>
                  <a:gd name="T56" fmla="*/ 539 w 825"/>
                  <a:gd name="T57" fmla="*/ 386 h 1105"/>
                  <a:gd name="T58" fmla="*/ 543 w 825"/>
                  <a:gd name="T59" fmla="*/ 412 h 1105"/>
                  <a:gd name="T60" fmla="*/ 537 w 825"/>
                  <a:gd name="T61" fmla="*/ 450 h 1105"/>
                  <a:gd name="T62" fmla="*/ 521 w 825"/>
                  <a:gd name="T63" fmla="*/ 484 h 1105"/>
                  <a:gd name="T64" fmla="*/ 475 w 825"/>
                  <a:gd name="T65" fmla="*/ 527 h 1105"/>
                  <a:gd name="T66" fmla="*/ 439 w 825"/>
                  <a:gd name="T67" fmla="*/ 539 h 1105"/>
                  <a:gd name="T68" fmla="*/ 413 w 825"/>
                  <a:gd name="T69" fmla="*/ 541 h 1105"/>
                  <a:gd name="T70" fmla="*/ 375 w 825"/>
                  <a:gd name="T71" fmla="*/ 535 h 1105"/>
                  <a:gd name="T72" fmla="*/ 341 w 825"/>
                  <a:gd name="T73" fmla="*/ 518 h 1105"/>
                  <a:gd name="T74" fmla="*/ 299 w 825"/>
                  <a:gd name="T75" fmla="*/ 474 h 1105"/>
                  <a:gd name="T76" fmla="*/ 287 w 825"/>
                  <a:gd name="T77" fmla="*/ 438 h 1105"/>
                  <a:gd name="T78" fmla="*/ 283 w 825"/>
                  <a:gd name="T79" fmla="*/ 412 h 1105"/>
                  <a:gd name="T80" fmla="*/ 289 w 825"/>
                  <a:gd name="T81" fmla="*/ 374 h 1105"/>
                  <a:gd name="T82" fmla="*/ 307 w 825"/>
                  <a:gd name="T83" fmla="*/ 340 h 1105"/>
                  <a:gd name="T84" fmla="*/ 351 w 825"/>
                  <a:gd name="T85" fmla="*/ 298 h 1105"/>
                  <a:gd name="T86" fmla="*/ 387 w 825"/>
                  <a:gd name="T87" fmla="*/ 286 h 1105"/>
                  <a:gd name="T88" fmla="*/ 413 w 825"/>
                  <a:gd name="T89" fmla="*/ 282 h 1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5" h="1105">
                    <a:moveTo>
                      <a:pt x="271" y="797"/>
                    </a:moveTo>
                    <a:lnTo>
                      <a:pt x="271" y="1105"/>
                    </a:lnTo>
                    <a:lnTo>
                      <a:pt x="555" y="1105"/>
                    </a:lnTo>
                    <a:lnTo>
                      <a:pt x="555" y="797"/>
                    </a:lnTo>
                    <a:lnTo>
                      <a:pt x="555" y="797"/>
                    </a:lnTo>
                    <a:lnTo>
                      <a:pt x="583" y="785"/>
                    </a:lnTo>
                    <a:lnTo>
                      <a:pt x="611" y="771"/>
                    </a:lnTo>
                    <a:lnTo>
                      <a:pt x="637" y="755"/>
                    </a:lnTo>
                    <a:lnTo>
                      <a:pt x="663" y="739"/>
                    </a:lnTo>
                    <a:lnTo>
                      <a:pt x="687" y="719"/>
                    </a:lnTo>
                    <a:lnTo>
                      <a:pt x="709" y="697"/>
                    </a:lnTo>
                    <a:lnTo>
                      <a:pt x="729" y="675"/>
                    </a:lnTo>
                    <a:lnTo>
                      <a:pt x="749" y="649"/>
                    </a:lnTo>
                    <a:lnTo>
                      <a:pt x="765" y="625"/>
                    </a:lnTo>
                    <a:lnTo>
                      <a:pt x="781" y="597"/>
                    </a:lnTo>
                    <a:lnTo>
                      <a:pt x="793" y="569"/>
                    </a:lnTo>
                    <a:lnTo>
                      <a:pt x="805" y="539"/>
                    </a:lnTo>
                    <a:lnTo>
                      <a:pt x="813" y="508"/>
                    </a:lnTo>
                    <a:lnTo>
                      <a:pt x="819" y="476"/>
                    </a:lnTo>
                    <a:lnTo>
                      <a:pt x="823" y="444"/>
                    </a:lnTo>
                    <a:lnTo>
                      <a:pt x="825" y="412"/>
                    </a:lnTo>
                    <a:lnTo>
                      <a:pt x="825" y="412"/>
                    </a:lnTo>
                    <a:lnTo>
                      <a:pt x="823" y="370"/>
                    </a:lnTo>
                    <a:lnTo>
                      <a:pt x="817" y="328"/>
                    </a:lnTo>
                    <a:lnTo>
                      <a:pt x="807" y="290"/>
                    </a:lnTo>
                    <a:lnTo>
                      <a:pt x="793" y="252"/>
                    </a:lnTo>
                    <a:lnTo>
                      <a:pt x="775" y="216"/>
                    </a:lnTo>
                    <a:lnTo>
                      <a:pt x="755" y="182"/>
                    </a:lnTo>
                    <a:lnTo>
                      <a:pt x="731" y="150"/>
                    </a:lnTo>
                    <a:lnTo>
                      <a:pt x="705" y="120"/>
                    </a:lnTo>
                    <a:lnTo>
                      <a:pt x="675" y="94"/>
                    </a:lnTo>
                    <a:lnTo>
                      <a:pt x="643" y="70"/>
                    </a:lnTo>
                    <a:lnTo>
                      <a:pt x="609" y="50"/>
                    </a:lnTo>
                    <a:lnTo>
                      <a:pt x="573" y="32"/>
                    </a:lnTo>
                    <a:lnTo>
                      <a:pt x="535" y="18"/>
                    </a:lnTo>
                    <a:lnTo>
                      <a:pt x="495" y="8"/>
                    </a:lnTo>
                    <a:lnTo>
                      <a:pt x="455" y="2"/>
                    </a:lnTo>
                    <a:lnTo>
                      <a:pt x="413" y="0"/>
                    </a:lnTo>
                    <a:lnTo>
                      <a:pt x="413" y="0"/>
                    </a:lnTo>
                    <a:lnTo>
                      <a:pt x="371" y="2"/>
                    </a:lnTo>
                    <a:lnTo>
                      <a:pt x="331" y="8"/>
                    </a:lnTo>
                    <a:lnTo>
                      <a:pt x="291" y="18"/>
                    </a:lnTo>
                    <a:lnTo>
                      <a:pt x="253" y="32"/>
                    </a:lnTo>
                    <a:lnTo>
                      <a:pt x="217" y="50"/>
                    </a:lnTo>
                    <a:lnTo>
                      <a:pt x="182" y="70"/>
                    </a:lnTo>
                    <a:lnTo>
                      <a:pt x="150" y="94"/>
                    </a:lnTo>
                    <a:lnTo>
                      <a:pt x="122" y="120"/>
                    </a:lnTo>
                    <a:lnTo>
                      <a:pt x="94" y="150"/>
                    </a:lnTo>
                    <a:lnTo>
                      <a:pt x="70" y="182"/>
                    </a:lnTo>
                    <a:lnTo>
                      <a:pt x="50" y="216"/>
                    </a:lnTo>
                    <a:lnTo>
                      <a:pt x="32" y="252"/>
                    </a:lnTo>
                    <a:lnTo>
                      <a:pt x="18" y="290"/>
                    </a:lnTo>
                    <a:lnTo>
                      <a:pt x="8" y="328"/>
                    </a:lnTo>
                    <a:lnTo>
                      <a:pt x="2" y="370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2" y="444"/>
                    </a:lnTo>
                    <a:lnTo>
                      <a:pt x="6" y="476"/>
                    </a:lnTo>
                    <a:lnTo>
                      <a:pt x="12" y="508"/>
                    </a:lnTo>
                    <a:lnTo>
                      <a:pt x="20" y="539"/>
                    </a:lnTo>
                    <a:lnTo>
                      <a:pt x="32" y="569"/>
                    </a:lnTo>
                    <a:lnTo>
                      <a:pt x="44" y="597"/>
                    </a:lnTo>
                    <a:lnTo>
                      <a:pt x="60" y="625"/>
                    </a:lnTo>
                    <a:lnTo>
                      <a:pt x="76" y="649"/>
                    </a:lnTo>
                    <a:lnTo>
                      <a:pt x="96" y="675"/>
                    </a:lnTo>
                    <a:lnTo>
                      <a:pt x="116" y="697"/>
                    </a:lnTo>
                    <a:lnTo>
                      <a:pt x="138" y="719"/>
                    </a:lnTo>
                    <a:lnTo>
                      <a:pt x="162" y="739"/>
                    </a:lnTo>
                    <a:lnTo>
                      <a:pt x="188" y="755"/>
                    </a:lnTo>
                    <a:lnTo>
                      <a:pt x="215" y="771"/>
                    </a:lnTo>
                    <a:lnTo>
                      <a:pt x="243" y="785"/>
                    </a:lnTo>
                    <a:lnTo>
                      <a:pt x="271" y="797"/>
                    </a:lnTo>
                    <a:lnTo>
                      <a:pt x="271" y="797"/>
                    </a:lnTo>
                    <a:close/>
                    <a:moveTo>
                      <a:pt x="413" y="282"/>
                    </a:moveTo>
                    <a:lnTo>
                      <a:pt x="413" y="282"/>
                    </a:lnTo>
                    <a:lnTo>
                      <a:pt x="427" y="284"/>
                    </a:lnTo>
                    <a:lnTo>
                      <a:pt x="439" y="286"/>
                    </a:lnTo>
                    <a:lnTo>
                      <a:pt x="451" y="288"/>
                    </a:lnTo>
                    <a:lnTo>
                      <a:pt x="463" y="292"/>
                    </a:lnTo>
                    <a:lnTo>
                      <a:pt x="475" y="298"/>
                    </a:lnTo>
                    <a:lnTo>
                      <a:pt x="485" y="304"/>
                    </a:lnTo>
                    <a:lnTo>
                      <a:pt x="505" y="320"/>
                    </a:lnTo>
                    <a:lnTo>
                      <a:pt x="521" y="340"/>
                    </a:lnTo>
                    <a:lnTo>
                      <a:pt x="527" y="350"/>
                    </a:lnTo>
                    <a:lnTo>
                      <a:pt x="533" y="362"/>
                    </a:lnTo>
                    <a:lnTo>
                      <a:pt x="537" y="374"/>
                    </a:lnTo>
                    <a:lnTo>
                      <a:pt x="539" y="386"/>
                    </a:lnTo>
                    <a:lnTo>
                      <a:pt x="541" y="398"/>
                    </a:lnTo>
                    <a:lnTo>
                      <a:pt x="543" y="412"/>
                    </a:lnTo>
                    <a:lnTo>
                      <a:pt x="543" y="412"/>
                    </a:lnTo>
                    <a:lnTo>
                      <a:pt x="541" y="424"/>
                    </a:lnTo>
                    <a:lnTo>
                      <a:pt x="539" y="438"/>
                    </a:lnTo>
                    <a:lnTo>
                      <a:pt x="537" y="450"/>
                    </a:lnTo>
                    <a:lnTo>
                      <a:pt x="533" y="462"/>
                    </a:lnTo>
                    <a:lnTo>
                      <a:pt x="527" y="474"/>
                    </a:lnTo>
                    <a:lnTo>
                      <a:pt x="521" y="484"/>
                    </a:lnTo>
                    <a:lnTo>
                      <a:pt x="505" y="502"/>
                    </a:lnTo>
                    <a:lnTo>
                      <a:pt x="485" y="518"/>
                    </a:lnTo>
                    <a:lnTo>
                      <a:pt x="475" y="527"/>
                    </a:lnTo>
                    <a:lnTo>
                      <a:pt x="463" y="531"/>
                    </a:lnTo>
                    <a:lnTo>
                      <a:pt x="451" y="535"/>
                    </a:lnTo>
                    <a:lnTo>
                      <a:pt x="439" y="539"/>
                    </a:lnTo>
                    <a:lnTo>
                      <a:pt x="427" y="541"/>
                    </a:lnTo>
                    <a:lnTo>
                      <a:pt x="413" y="541"/>
                    </a:lnTo>
                    <a:lnTo>
                      <a:pt x="413" y="541"/>
                    </a:lnTo>
                    <a:lnTo>
                      <a:pt x="399" y="541"/>
                    </a:lnTo>
                    <a:lnTo>
                      <a:pt x="387" y="539"/>
                    </a:lnTo>
                    <a:lnTo>
                      <a:pt x="375" y="535"/>
                    </a:lnTo>
                    <a:lnTo>
                      <a:pt x="363" y="531"/>
                    </a:lnTo>
                    <a:lnTo>
                      <a:pt x="351" y="527"/>
                    </a:lnTo>
                    <a:lnTo>
                      <a:pt x="341" y="518"/>
                    </a:lnTo>
                    <a:lnTo>
                      <a:pt x="321" y="502"/>
                    </a:lnTo>
                    <a:lnTo>
                      <a:pt x="307" y="484"/>
                    </a:lnTo>
                    <a:lnTo>
                      <a:pt x="299" y="474"/>
                    </a:lnTo>
                    <a:lnTo>
                      <a:pt x="295" y="462"/>
                    </a:lnTo>
                    <a:lnTo>
                      <a:pt x="289" y="450"/>
                    </a:lnTo>
                    <a:lnTo>
                      <a:pt x="287" y="438"/>
                    </a:lnTo>
                    <a:lnTo>
                      <a:pt x="285" y="424"/>
                    </a:lnTo>
                    <a:lnTo>
                      <a:pt x="283" y="412"/>
                    </a:lnTo>
                    <a:lnTo>
                      <a:pt x="283" y="412"/>
                    </a:lnTo>
                    <a:lnTo>
                      <a:pt x="285" y="398"/>
                    </a:lnTo>
                    <a:lnTo>
                      <a:pt x="287" y="386"/>
                    </a:lnTo>
                    <a:lnTo>
                      <a:pt x="289" y="374"/>
                    </a:lnTo>
                    <a:lnTo>
                      <a:pt x="295" y="362"/>
                    </a:lnTo>
                    <a:lnTo>
                      <a:pt x="299" y="350"/>
                    </a:lnTo>
                    <a:lnTo>
                      <a:pt x="307" y="340"/>
                    </a:lnTo>
                    <a:lnTo>
                      <a:pt x="321" y="320"/>
                    </a:lnTo>
                    <a:lnTo>
                      <a:pt x="341" y="304"/>
                    </a:lnTo>
                    <a:lnTo>
                      <a:pt x="351" y="298"/>
                    </a:lnTo>
                    <a:lnTo>
                      <a:pt x="363" y="292"/>
                    </a:lnTo>
                    <a:lnTo>
                      <a:pt x="375" y="288"/>
                    </a:lnTo>
                    <a:lnTo>
                      <a:pt x="387" y="286"/>
                    </a:lnTo>
                    <a:lnTo>
                      <a:pt x="399" y="284"/>
                    </a:lnTo>
                    <a:lnTo>
                      <a:pt x="413" y="282"/>
                    </a:lnTo>
                    <a:lnTo>
                      <a:pt x="413" y="2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41" name="Freeform 8">
                <a:extLst>
                  <a:ext uri="{FF2B5EF4-FFF2-40B4-BE49-F238E27FC236}">
                    <a16:creationId xmlns:a16="http://schemas.microsoft.com/office/drawing/2014/main" id="{A94C6FD6-BAF7-4AF3-9229-CC17E75D10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049" y="2466780"/>
                <a:ext cx="226962" cy="186763"/>
              </a:xfrm>
              <a:custGeom>
                <a:avLst/>
                <a:gdLst>
                  <a:gd name="T0" fmla="*/ 1846 w 2089"/>
                  <a:gd name="T1" fmla="*/ 784 h 1719"/>
                  <a:gd name="T2" fmla="*/ 1927 w 2089"/>
                  <a:gd name="T3" fmla="*/ 738 h 1719"/>
                  <a:gd name="T4" fmla="*/ 1995 w 2089"/>
                  <a:gd name="T5" fmla="*/ 674 h 1719"/>
                  <a:gd name="T6" fmla="*/ 2045 w 2089"/>
                  <a:gd name="T7" fmla="*/ 596 h 1719"/>
                  <a:gd name="T8" fmla="*/ 2077 w 2089"/>
                  <a:gd name="T9" fmla="*/ 508 h 1719"/>
                  <a:gd name="T10" fmla="*/ 2089 w 2089"/>
                  <a:gd name="T11" fmla="*/ 412 h 1719"/>
                  <a:gd name="T12" fmla="*/ 2081 w 2089"/>
                  <a:gd name="T13" fmla="*/ 328 h 1719"/>
                  <a:gd name="T14" fmla="*/ 2039 w 2089"/>
                  <a:gd name="T15" fmla="*/ 216 h 1719"/>
                  <a:gd name="T16" fmla="*/ 1969 w 2089"/>
                  <a:gd name="T17" fmla="*/ 120 h 1719"/>
                  <a:gd name="T18" fmla="*/ 1873 w 2089"/>
                  <a:gd name="T19" fmla="*/ 50 h 1719"/>
                  <a:gd name="T20" fmla="*/ 1760 w 2089"/>
                  <a:gd name="T21" fmla="*/ 8 h 1719"/>
                  <a:gd name="T22" fmla="*/ 1676 w 2089"/>
                  <a:gd name="T23" fmla="*/ 0 h 1719"/>
                  <a:gd name="T24" fmla="*/ 1554 w 2089"/>
                  <a:gd name="T25" fmla="*/ 18 h 1719"/>
                  <a:gd name="T26" fmla="*/ 1446 w 2089"/>
                  <a:gd name="T27" fmla="*/ 70 h 1719"/>
                  <a:gd name="T28" fmla="*/ 1358 w 2089"/>
                  <a:gd name="T29" fmla="*/ 150 h 1719"/>
                  <a:gd name="T30" fmla="*/ 1298 w 2089"/>
                  <a:gd name="T31" fmla="*/ 252 h 1719"/>
                  <a:gd name="T32" fmla="*/ 1266 w 2089"/>
                  <a:gd name="T33" fmla="*/ 370 h 1719"/>
                  <a:gd name="T34" fmla="*/ 1266 w 2089"/>
                  <a:gd name="T35" fmla="*/ 444 h 1719"/>
                  <a:gd name="T36" fmla="*/ 1284 w 2089"/>
                  <a:gd name="T37" fmla="*/ 538 h 1719"/>
                  <a:gd name="T38" fmla="*/ 1324 w 2089"/>
                  <a:gd name="T39" fmla="*/ 624 h 1719"/>
                  <a:gd name="T40" fmla="*/ 1380 w 2089"/>
                  <a:gd name="T41" fmla="*/ 696 h 1719"/>
                  <a:gd name="T42" fmla="*/ 1452 w 2089"/>
                  <a:gd name="T43" fmla="*/ 754 h 1719"/>
                  <a:gd name="T44" fmla="*/ 1536 w 2089"/>
                  <a:gd name="T45" fmla="*/ 796 h 1719"/>
                  <a:gd name="T46" fmla="*/ 0 w 2089"/>
                  <a:gd name="T47" fmla="*/ 1719 h 1719"/>
                  <a:gd name="T48" fmla="*/ 1676 w 2089"/>
                  <a:gd name="T49" fmla="*/ 282 h 1719"/>
                  <a:gd name="T50" fmla="*/ 1702 w 2089"/>
                  <a:gd name="T51" fmla="*/ 286 h 1719"/>
                  <a:gd name="T52" fmla="*/ 1738 w 2089"/>
                  <a:gd name="T53" fmla="*/ 298 h 1719"/>
                  <a:gd name="T54" fmla="*/ 1784 w 2089"/>
                  <a:gd name="T55" fmla="*/ 340 h 1719"/>
                  <a:gd name="T56" fmla="*/ 1800 w 2089"/>
                  <a:gd name="T57" fmla="*/ 374 h 1719"/>
                  <a:gd name="T58" fmla="*/ 1806 w 2089"/>
                  <a:gd name="T59" fmla="*/ 412 h 1719"/>
                  <a:gd name="T60" fmla="*/ 1804 w 2089"/>
                  <a:gd name="T61" fmla="*/ 438 h 1719"/>
                  <a:gd name="T62" fmla="*/ 1790 w 2089"/>
                  <a:gd name="T63" fmla="*/ 474 h 1719"/>
                  <a:gd name="T64" fmla="*/ 1748 w 2089"/>
                  <a:gd name="T65" fmla="*/ 518 h 1719"/>
                  <a:gd name="T66" fmla="*/ 1714 w 2089"/>
                  <a:gd name="T67" fmla="*/ 534 h 1719"/>
                  <a:gd name="T68" fmla="*/ 1676 w 2089"/>
                  <a:gd name="T69" fmla="*/ 540 h 1719"/>
                  <a:gd name="T70" fmla="*/ 1650 w 2089"/>
                  <a:gd name="T71" fmla="*/ 538 h 1719"/>
                  <a:gd name="T72" fmla="*/ 1616 w 2089"/>
                  <a:gd name="T73" fmla="*/ 526 h 1719"/>
                  <a:gd name="T74" fmla="*/ 1570 w 2089"/>
                  <a:gd name="T75" fmla="*/ 484 h 1719"/>
                  <a:gd name="T76" fmla="*/ 1554 w 2089"/>
                  <a:gd name="T77" fmla="*/ 450 h 1719"/>
                  <a:gd name="T78" fmla="*/ 1548 w 2089"/>
                  <a:gd name="T79" fmla="*/ 412 h 1719"/>
                  <a:gd name="T80" fmla="*/ 1550 w 2089"/>
                  <a:gd name="T81" fmla="*/ 386 h 1719"/>
                  <a:gd name="T82" fmla="*/ 1564 w 2089"/>
                  <a:gd name="T83" fmla="*/ 350 h 1719"/>
                  <a:gd name="T84" fmla="*/ 1604 w 2089"/>
                  <a:gd name="T85" fmla="*/ 304 h 1719"/>
                  <a:gd name="T86" fmla="*/ 1638 w 2089"/>
                  <a:gd name="T87" fmla="*/ 288 h 1719"/>
                  <a:gd name="T88" fmla="*/ 1676 w 2089"/>
                  <a:gd name="T89" fmla="*/ 282 h 1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089" h="1719">
                    <a:moveTo>
                      <a:pt x="1818" y="796"/>
                    </a:moveTo>
                    <a:lnTo>
                      <a:pt x="1818" y="796"/>
                    </a:lnTo>
                    <a:lnTo>
                      <a:pt x="1846" y="784"/>
                    </a:lnTo>
                    <a:lnTo>
                      <a:pt x="1875" y="770"/>
                    </a:lnTo>
                    <a:lnTo>
                      <a:pt x="1903" y="754"/>
                    </a:lnTo>
                    <a:lnTo>
                      <a:pt x="1927" y="738"/>
                    </a:lnTo>
                    <a:lnTo>
                      <a:pt x="1951" y="718"/>
                    </a:lnTo>
                    <a:lnTo>
                      <a:pt x="1973" y="696"/>
                    </a:lnTo>
                    <a:lnTo>
                      <a:pt x="1995" y="674"/>
                    </a:lnTo>
                    <a:lnTo>
                      <a:pt x="2013" y="648"/>
                    </a:lnTo>
                    <a:lnTo>
                      <a:pt x="2031" y="624"/>
                    </a:lnTo>
                    <a:lnTo>
                      <a:pt x="2045" y="596"/>
                    </a:lnTo>
                    <a:lnTo>
                      <a:pt x="2059" y="568"/>
                    </a:lnTo>
                    <a:lnTo>
                      <a:pt x="2069" y="538"/>
                    </a:lnTo>
                    <a:lnTo>
                      <a:pt x="2077" y="508"/>
                    </a:lnTo>
                    <a:lnTo>
                      <a:pt x="2085" y="476"/>
                    </a:lnTo>
                    <a:lnTo>
                      <a:pt x="2087" y="444"/>
                    </a:lnTo>
                    <a:lnTo>
                      <a:pt x="2089" y="412"/>
                    </a:lnTo>
                    <a:lnTo>
                      <a:pt x="2089" y="412"/>
                    </a:lnTo>
                    <a:lnTo>
                      <a:pt x="2087" y="370"/>
                    </a:lnTo>
                    <a:lnTo>
                      <a:pt x="2081" y="328"/>
                    </a:lnTo>
                    <a:lnTo>
                      <a:pt x="2071" y="290"/>
                    </a:lnTo>
                    <a:lnTo>
                      <a:pt x="2057" y="252"/>
                    </a:lnTo>
                    <a:lnTo>
                      <a:pt x="2039" y="216"/>
                    </a:lnTo>
                    <a:lnTo>
                      <a:pt x="2019" y="182"/>
                    </a:lnTo>
                    <a:lnTo>
                      <a:pt x="1995" y="150"/>
                    </a:lnTo>
                    <a:lnTo>
                      <a:pt x="1969" y="120"/>
                    </a:lnTo>
                    <a:lnTo>
                      <a:pt x="1939" y="94"/>
                    </a:lnTo>
                    <a:lnTo>
                      <a:pt x="1907" y="70"/>
                    </a:lnTo>
                    <a:lnTo>
                      <a:pt x="1873" y="50"/>
                    </a:lnTo>
                    <a:lnTo>
                      <a:pt x="1836" y="32"/>
                    </a:lnTo>
                    <a:lnTo>
                      <a:pt x="1798" y="18"/>
                    </a:lnTo>
                    <a:lnTo>
                      <a:pt x="1760" y="8"/>
                    </a:lnTo>
                    <a:lnTo>
                      <a:pt x="1718" y="2"/>
                    </a:lnTo>
                    <a:lnTo>
                      <a:pt x="1676" y="0"/>
                    </a:lnTo>
                    <a:lnTo>
                      <a:pt x="1676" y="0"/>
                    </a:lnTo>
                    <a:lnTo>
                      <a:pt x="1634" y="2"/>
                    </a:lnTo>
                    <a:lnTo>
                      <a:pt x="1594" y="8"/>
                    </a:lnTo>
                    <a:lnTo>
                      <a:pt x="1554" y="18"/>
                    </a:lnTo>
                    <a:lnTo>
                      <a:pt x="1516" y="32"/>
                    </a:lnTo>
                    <a:lnTo>
                      <a:pt x="1480" y="50"/>
                    </a:lnTo>
                    <a:lnTo>
                      <a:pt x="1446" y="70"/>
                    </a:lnTo>
                    <a:lnTo>
                      <a:pt x="1414" y="94"/>
                    </a:lnTo>
                    <a:lnTo>
                      <a:pt x="1386" y="120"/>
                    </a:lnTo>
                    <a:lnTo>
                      <a:pt x="1358" y="150"/>
                    </a:lnTo>
                    <a:lnTo>
                      <a:pt x="1336" y="182"/>
                    </a:lnTo>
                    <a:lnTo>
                      <a:pt x="1314" y="216"/>
                    </a:lnTo>
                    <a:lnTo>
                      <a:pt x="1298" y="252"/>
                    </a:lnTo>
                    <a:lnTo>
                      <a:pt x="1284" y="290"/>
                    </a:lnTo>
                    <a:lnTo>
                      <a:pt x="1274" y="328"/>
                    </a:lnTo>
                    <a:lnTo>
                      <a:pt x="1266" y="370"/>
                    </a:lnTo>
                    <a:lnTo>
                      <a:pt x="1264" y="412"/>
                    </a:lnTo>
                    <a:lnTo>
                      <a:pt x="1264" y="412"/>
                    </a:lnTo>
                    <a:lnTo>
                      <a:pt x="1266" y="444"/>
                    </a:lnTo>
                    <a:lnTo>
                      <a:pt x="1270" y="476"/>
                    </a:lnTo>
                    <a:lnTo>
                      <a:pt x="1276" y="508"/>
                    </a:lnTo>
                    <a:lnTo>
                      <a:pt x="1284" y="538"/>
                    </a:lnTo>
                    <a:lnTo>
                      <a:pt x="1296" y="568"/>
                    </a:lnTo>
                    <a:lnTo>
                      <a:pt x="1308" y="596"/>
                    </a:lnTo>
                    <a:lnTo>
                      <a:pt x="1324" y="624"/>
                    </a:lnTo>
                    <a:lnTo>
                      <a:pt x="1342" y="648"/>
                    </a:lnTo>
                    <a:lnTo>
                      <a:pt x="1360" y="674"/>
                    </a:lnTo>
                    <a:lnTo>
                      <a:pt x="1380" y="696"/>
                    </a:lnTo>
                    <a:lnTo>
                      <a:pt x="1402" y="718"/>
                    </a:lnTo>
                    <a:lnTo>
                      <a:pt x="1426" y="738"/>
                    </a:lnTo>
                    <a:lnTo>
                      <a:pt x="1452" y="754"/>
                    </a:lnTo>
                    <a:lnTo>
                      <a:pt x="1478" y="770"/>
                    </a:lnTo>
                    <a:lnTo>
                      <a:pt x="1506" y="784"/>
                    </a:lnTo>
                    <a:lnTo>
                      <a:pt x="1536" y="796"/>
                    </a:lnTo>
                    <a:lnTo>
                      <a:pt x="1536" y="1436"/>
                    </a:lnTo>
                    <a:lnTo>
                      <a:pt x="0" y="1436"/>
                    </a:lnTo>
                    <a:lnTo>
                      <a:pt x="0" y="1719"/>
                    </a:lnTo>
                    <a:lnTo>
                      <a:pt x="1818" y="1719"/>
                    </a:lnTo>
                    <a:lnTo>
                      <a:pt x="1818" y="796"/>
                    </a:lnTo>
                    <a:close/>
                    <a:moveTo>
                      <a:pt x="1676" y="282"/>
                    </a:moveTo>
                    <a:lnTo>
                      <a:pt x="1676" y="282"/>
                    </a:lnTo>
                    <a:lnTo>
                      <a:pt x="1690" y="284"/>
                    </a:lnTo>
                    <a:lnTo>
                      <a:pt x="1702" y="286"/>
                    </a:lnTo>
                    <a:lnTo>
                      <a:pt x="1714" y="288"/>
                    </a:lnTo>
                    <a:lnTo>
                      <a:pt x="1726" y="292"/>
                    </a:lnTo>
                    <a:lnTo>
                      <a:pt x="1738" y="298"/>
                    </a:lnTo>
                    <a:lnTo>
                      <a:pt x="1748" y="304"/>
                    </a:lnTo>
                    <a:lnTo>
                      <a:pt x="1768" y="320"/>
                    </a:lnTo>
                    <a:lnTo>
                      <a:pt x="1784" y="340"/>
                    </a:lnTo>
                    <a:lnTo>
                      <a:pt x="1790" y="350"/>
                    </a:lnTo>
                    <a:lnTo>
                      <a:pt x="1796" y="362"/>
                    </a:lnTo>
                    <a:lnTo>
                      <a:pt x="1800" y="374"/>
                    </a:lnTo>
                    <a:lnTo>
                      <a:pt x="1804" y="386"/>
                    </a:lnTo>
                    <a:lnTo>
                      <a:pt x="1806" y="398"/>
                    </a:lnTo>
                    <a:lnTo>
                      <a:pt x="1806" y="412"/>
                    </a:lnTo>
                    <a:lnTo>
                      <a:pt x="1806" y="412"/>
                    </a:lnTo>
                    <a:lnTo>
                      <a:pt x="1806" y="424"/>
                    </a:lnTo>
                    <a:lnTo>
                      <a:pt x="1804" y="438"/>
                    </a:lnTo>
                    <a:lnTo>
                      <a:pt x="1800" y="450"/>
                    </a:lnTo>
                    <a:lnTo>
                      <a:pt x="1796" y="462"/>
                    </a:lnTo>
                    <a:lnTo>
                      <a:pt x="1790" y="474"/>
                    </a:lnTo>
                    <a:lnTo>
                      <a:pt x="1784" y="484"/>
                    </a:lnTo>
                    <a:lnTo>
                      <a:pt x="1768" y="502"/>
                    </a:lnTo>
                    <a:lnTo>
                      <a:pt x="1748" y="518"/>
                    </a:lnTo>
                    <a:lnTo>
                      <a:pt x="1738" y="526"/>
                    </a:lnTo>
                    <a:lnTo>
                      <a:pt x="1726" y="530"/>
                    </a:lnTo>
                    <a:lnTo>
                      <a:pt x="1714" y="534"/>
                    </a:lnTo>
                    <a:lnTo>
                      <a:pt x="1702" y="538"/>
                    </a:lnTo>
                    <a:lnTo>
                      <a:pt x="1690" y="540"/>
                    </a:lnTo>
                    <a:lnTo>
                      <a:pt x="1676" y="540"/>
                    </a:lnTo>
                    <a:lnTo>
                      <a:pt x="1676" y="540"/>
                    </a:lnTo>
                    <a:lnTo>
                      <a:pt x="1664" y="540"/>
                    </a:lnTo>
                    <a:lnTo>
                      <a:pt x="1650" y="538"/>
                    </a:lnTo>
                    <a:lnTo>
                      <a:pt x="1638" y="534"/>
                    </a:lnTo>
                    <a:lnTo>
                      <a:pt x="1626" y="530"/>
                    </a:lnTo>
                    <a:lnTo>
                      <a:pt x="1616" y="526"/>
                    </a:lnTo>
                    <a:lnTo>
                      <a:pt x="1604" y="518"/>
                    </a:lnTo>
                    <a:lnTo>
                      <a:pt x="1586" y="502"/>
                    </a:lnTo>
                    <a:lnTo>
                      <a:pt x="1570" y="484"/>
                    </a:lnTo>
                    <a:lnTo>
                      <a:pt x="1564" y="474"/>
                    </a:lnTo>
                    <a:lnTo>
                      <a:pt x="1558" y="462"/>
                    </a:lnTo>
                    <a:lnTo>
                      <a:pt x="1554" y="450"/>
                    </a:lnTo>
                    <a:lnTo>
                      <a:pt x="1550" y="438"/>
                    </a:lnTo>
                    <a:lnTo>
                      <a:pt x="1548" y="424"/>
                    </a:lnTo>
                    <a:lnTo>
                      <a:pt x="1548" y="412"/>
                    </a:lnTo>
                    <a:lnTo>
                      <a:pt x="1548" y="412"/>
                    </a:lnTo>
                    <a:lnTo>
                      <a:pt x="1548" y="398"/>
                    </a:lnTo>
                    <a:lnTo>
                      <a:pt x="1550" y="386"/>
                    </a:lnTo>
                    <a:lnTo>
                      <a:pt x="1554" y="374"/>
                    </a:lnTo>
                    <a:lnTo>
                      <a:pt x="1558" y="362"/>
                    </a:lnTo>
                    <a:lnTo>
                      <a:pt x="1564" y="350"/>
                    </a:lnTo>
                    <a:lnTo>
                      <a:pt x="1570" y="340"/>
                    </a:lnTo>
                    <a:lnTo>
                      <a:pt x="1586" y="320"/>
                    </a:lnTo>
                    <a:lnTo>
                      <a:pt x="1604" y="304"/>
                    </a:lnTo>
                    <a:lnTo>
                      <a:pt x="1616" y="298"/>
                    </a:lnTo>
                    <a:lnTo>
                      <a:pt x="1626" y="292"/>
                    </a:lnTo>
                    <a:lnTo>
                      <a:pt x="1638" y="288"/>
                    </a:lnTo>
                    <a:lnTo>
                      <a:pt x="1650" y="286"/>
                    </a:lnTo>
                    <a:lnTo>
                      <a:pt x="1664" y="284"/>
                    </a:lnTo>
                    <a:lnTo>
                      <a:pt x="1676" y="282"/>
                    </a:lnTo>
                    <a:lnTo>
                      <a:pt x="1676" y="2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42" name="Freeform 9">
                <a:extLst>
                  <a:ext uri="{FF2B5EF4-FFF2-40B4-BE49-F238E27FC236}">
                    <a16:creationId xmlns:a16="http://schemas.microsoft.com/office/drawing/2014/main" id="{37FB6950-862A-4CEA-93ED-BFECFE1E97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8049" y="2570863"/>
                <a:ext cx="311054" cy="164382"/>
              </a:xfrm>
              <a:custGeom>
                <a:avLst/>
                <a:gdLst>
                  <a:gd name="T0" fmla="*/ 2409 w 2863"/>
                  <a:gd name="T1" fmla="*/ 2 h 1513"/>
                  <a:gd name="T2" fmla="*/ 2291 w 2863"/>
                  <a:gd name="T3" fmla="*/ 32 h 1513"/>
                  <a:gd name="T4" fmla="*/ 2191 w 2863"/>
                  <a:gd name="T5" fmla="*/ 94 h 1513"/>
                  <a:gd name="T6" fmla="*/ 2111 w 2863"/>
                  <a:gd name="T7" fmla="*/ 182 h 1513"/>
                  <a:gd name="T8" fmla="*/ 2059 w 2863"/>
                  <a:gd name="T9" fmla="*/ 290 h 1513"/>
                  <a:gd name="T10" fmla="*/ 2041 w 2863"/>
                  <a:gd name="T11" fmla="*/ 412 h 1513"/>
                  <a:gd name="T12" fmla="*/ 2045 w 2863"/>
                  <a:gd name="T13" fmla="*/ 474 h 1513"/>
                  <a:gd name="T14" fmla="*/ 2069 w 2863"/>
                  <a:gd name="T15" fmla="*/ 560 h 1513"/>
                  <a:gd name="T16" fmla="*/ 2109 w 2863"/>
                  <a:gd name="T17" fmla="*/ 641 h 1513"/>
                  <a:gd name="T18" fmla="*/ 2165 w 2863"/>
                  <a:gd name="T19" fmla="*/ 707 h 1513"/>
                  <a:gd name="T20" fmla="*/ 2235 w 2863"/>
                  <a:gd name="T21" fmla="*/ 761 h 1513"/>
                  <a:gd name="T22" fmla="*/ 2287 w 2863"/>
                  <a:gd name="T23" fmla="*/ 1229 h 1513"/>
                  <a:gd name="T24" fmla="*/ 2569 w 2863"/>
                  <a:gd name="T25" fmla="*/ 1513 h 1513"/>
                  <a:gd name="T26" fmla="*/ 2601 w 2863"/>
                  <a:gd name="T27" fmla="*/ 795 h 1513"/>
                  <a:gd name="T28" fmla="*/ 2687 w 2863"/>
                  <a:gd name="T29" fmla="*/ 749 h 1513"/>
                  <a:gd name="T30" fmla="*/ 2759 w 2863"/>
                  <a:gd name="T31" fmla="*/ 685 h 1513"/>
                  <a:gd name="T32" fmla="*/ 2815 w 2863"/>
                  <a:gd name="T33" fmla="*/ 605 h 1513"/>
                  <a:gd name="T34" fmla="*/ 2851 w 2863"/>
                  <a:gd name="T35" fmla="*/ 512 h 1513"/>
                  <a:gd name="T36" fmla="*/ 2863 w 2863"/>
                  <a:gd name="T37" fmla="*/ 412 h 1513"/>
                  <a:gd name="T38" fmla="*/ 2855 w 2863"/>
                  <a:gd name="T39" fmla="*/ 328 h 1513"/>
                  <a:gd name="T40" fmla="*/ 2813 w 2863"/>
                  <a:gd name="T41" fmla="*/ 216 h 1513"/>
                  <a:gd name="T42" fmla="*/ 2743 w 2863"/>
                  <a:gd name="T43" fmla="*/ 120 h 1513"/>
                  <a:gd name="T44" fmla="*/ 2649 w 2863"/>
                  <a:gd name="T45" fmla="*/ 50 h 1513"/>
                  <a:gd name="T46" fmla="*/ 2535 w 2863"/>
                  <a:gd name="T47" fmla="*/ 8 h 1513"/>
                  <a:gd name="T48" fmla="*/ 2451 w 2863"/>
                  <a:gd name="T49" fmla="*/ 0 h 1513"/>
                  <a:gd name="T50" fmla="*/ 2439 w 2863"/>
                  <a:gd name="T51" fmla="*/ 540 h 1513"/>
                  <a:gd name="T52" fmla="*/ 2401 w 2863"/>
                  <a:gd name="T53" fmla="*/ 530 h 1513"/>
                  <a:gd name="T54" fmla="*/ 2361 w 2863"/>
                  <a:gd name="T55" fmla="*/ 504 h 1513"/>
                  <a:gd name="T56" fmla="*/ 2333 w 2863"/>
                  <a:gd name="T57" fmla="*/ 462 h 1513"/>
                  <a:gd name="T58" fmla="*/ 2323 w 2863"/>
                  <a:gd name="T59" fmla="*/ 424 h 1513"/>
                  <a:gd name="T60" fmla="*/ 2323 w 2863"/>
                  <a:gd name="T61" fmla="*/ 398 h 1513"/>
                  <a:gd name="T62" fmla="*/ 2333 w 2863"/>
                  <a:gd name="T63" fmla="*/ 362 h 1513"/>
                  <a:gd name="T64" fmla="*/ 2361 w 2863"/>
                  <a:gd name="T65" fmla="*/ 320 h 1513"/>
                  <a:gd name="T66" fmla="*/ 2401 w 2863"/>
                  <a:gd name="T67" fmla="*/ 292 h 1513"/>
                  <a:gd name="T68" fmla="*/ 2439 w 2863"/>
                  <a:gd name="T69" fmla="*/ 284 h 1513"/>
                  <a:gd name="T70" fmla="*/ 2465 w 2863"/>
                  <a:gd name="T71" fmla="*/ 284 h 1513"/>
                  <a:gd name="T72" fmla="*/ 2503 w 2863"/>
                  <a:gd name="T73" fmla="*/ 292 h 1513"/>
                  <a:gd name="T74" fmla="*/ 2543 w 2863"/>
                  <a:gd name="T75" fmla="*/ 320 h 1513"/>
                  <a:gd name="T76" fmla="*/ 2571 w 2863"/>
                  <a:gd name="T77" fmla="*/ 362 h 1513"/>
                  <a:gd name="T78" fmla="*/ 2581 w 2863"/>
                  <a:gd name="T79" fmla="*/ 398 h 1513"/>
                  <a:gd name="T80" fmla="*/ 2581 w 2863"/>
                  <a:gd name="T81" fmla="*/ 424 h 1513"/>
                  <a:gd name="T82" fmla="*/ 2571 w 2863"/>
                  <a:gd name="T83" fmla="*/ 462 h 1513"/>
                  <a:gd name="T84" fmla="*/ 2543 w 2863"/>
                  <a:gd name="T85" fmla="*/ 504 h 1513"/>
                  <a:gd name="T86" fmla="*/ 2503 w 2863"/>
                  <a:gd name="T87" fmla="*/ 530 h 1513"/>
                  <a:gd name="T88" fmla="*/ 2465 w 2863"/>
                  <a:gd name="T89" fmla="*/ 540 h 1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863" h="1513">
                    <a:moveTo>
                      <a:pt x="2451" y="0"/>
                    </a:moveTo>
                    <a:lnTo>
                      <a:pt x="2451" y="0"/>
                    </a:lnTo>
                    <a:lnTo>
                      <a:pt x="2409" y="2"/>
                    </a:lnTo>
                    <a:lnTo>
                      <a:pt x="2369" y="8"/>
                    </a:lnTo>
                    <a:lnTo>
                      <a:pt x="2329" y="18"/>
                    </a:lnTo>
                    <a:lnTo>
                      <a:pt x="2291" y="32"/>
                    </a:lnTo>
                    <a:lnTo>
                      <a:pt x="2255" y="50"/>
                    </a:lnTo>
                    <a:lnTo>
                      <a:pt x="2221" y="70"/>
                    </a:lnTo>
                    <a:lnTo>
                      <a:pt x="2191" y="94"/>
                    </a:lnTo>
                    <a:lnTo>
                      <a:pt x="2161" y="120"/>
                    </a:lnTo>
                    <a:lnTo>
                      <a:pt x="2135" y="150"/>
                    </a:lnTo>
                    <a:lnTo>
                      <a:pt x="2111" y="182"/>
                    </a:lnTo>
                    <a:lnTo>
                      <a:pt x="2091" y="216"/>
                    </a:lnTo>
                    <a:lnTo>
                      <a:pt x="2073" y="252"/>
                    </a:lnTo>
                    <a:lnTo>
                      <a:pt x="2059" y="290"/>
                    </a:lnTo>
                    <a:lnTo>
                      <a:pt x="2049" y="328"/>
                    </a:lnTo>
                    <a:lnTo>
                      <a:pt x="2043" y="370"/>
                    </a:lnTo>
                    <a:lnTo>
                      <a:pt x="2041" y="412"/>
                    </a:lnTo>
                    <a:lnTo>
                      <a:pt x="2041" y="412"/>
                    </a:lnTo>
                    <a:lnTo>
                      <a:pt x="2041" y="442"/>
                    </a:lnTo>
                    <a:lnTo>
                      <a:pt x="2045" y="474"/>
                    </a:lnTo>
                    <a:lnTo>
                      <a:pt x="2051" y="504"/>
                    </a:lnTo>
                    <a:lnTo>
                      <a:pt x="2059" y="532"/>
                    </a:lnTo>
                    <a:lnTo>
                      <a:pt x="2069" y="560"/>
                    </a:lnTo>
                    <a:lnTo>
                      <a:pt x="2081" y="589"/>
                    </a:lnTo>
                    <a:lnTo>
                      <a:pt x="2093" y="615"/>
                    </a:lnTo>
                    <a:lnTo>
                      <a:pt x="2109" y="641"/>
                    </a:lnTo>
                    <a:lnTo>
                      <a:pt x="2127" y="663"/>
                    </a:lnTo>
                    <a:lnTo>
                      <a:pt x="2145" y="687"/>
                    </a:lnTo>
                    <a:lnTo>
                      <a:pt x="2165" y="707"/>
                    </a:lnTo>
                    <a:lnTo>
                      <a:pt x="2187" y="727"/>
                    </a:lnTo>
                    <a:lnTo>
                      <a:pt x="2211" y="745"/>
                    </a:lnTo>
                    <a:lnTo>
                      <a:pt x="2235" y="761"/>
                    </a:lnTo>
                    <a:lnTo>
                      <a:pt x="2261" y="777"/>
                    </a:lnTo>
                    <a:lnTo>
                      <a:pt x="2287" y="789"/>
                    </a:lnTo>
                    <a:lnTo>
                      <a:pt x="2287" y="1229"/>
                    </a:lnTo>
                    <a:lnTo>
                      <a:pt x="0" y="1229"/>
                    </a:lnTo>
                    <a:lnTo>
                      <a:pt x="0" y="1513"/>
                    </a:lnTo>
                    <a:lnTo>
                      <a:pt x="2569" y="1513"/>
                    </a:lnTo>
                    <a:lnTo>
                      <a:pt x="2569" y="805"/>
                    </a:lnTo>
                    <a:lnTo>
                      <a:pt x="2569" y="805"/>
                    </a:lnTo>
                    <a:lnTo>
                      <a:pt x="2601" y="795"/>
                    </a:lnTo>
                    <a:lnTo>
                      <a:pt x="2631" y="781"/>
                    </a:lnTo>
                    <a:lnTo>
                      <a:pt x="2659" y="767"/>
                    </a:lnTo>
                    <a:lnTo>
                      <a:pt x="2687" y="749"/>
                    </a:lnTo>
                    <a:lnTo>
                      <a:pt x="2713" y="729"/>
                    </a:lnTo>
                    <a:lnTo>
                      <a:pt x="2737" y="707"/>
                    </a:lnTo>
                    <a:lnTo>
                      <a:pt x="2759" y="685"/>
                    </a:lnTo>
                    <a:lnTo>
                      <a:pt x="2781" y="659"/>
                    </a:lnTo>
                    <a:lnTo>
                      <a:pt x="2799" y="633"/>
                    </a:lnTo>
                    <a:lnTo>
                      <a:pt x="2815" y="605"/>
                    </a:lnTo>
                    <a:lnTo>
                      <a:pt x="2829" y="574"/>
                    </a:lnTo>
                    <a:lnTo>
                      <a:pt x="2841" y="544"/>
                    </a:lnTo>
                    <a:lnTo>
                      <a:pt x="2851" y="512"/>
                    </a:lnTo>
                    <a:lnTo>
                      <a:pt x="2859" y="480"/>
                    </a:lnTo>
                    <a:lnTo>
                      <a:pt x="2863" y="446"/>
                    </a:lnTo>
                    <a:lnTo>
                      <a:pt x="2863" y="412"/>
                    </a:lnTo>
                    <a:lnTo>
                      <a:pt x="2863" y="412"/>
                    </a:lnTo>
                    <a:lnTo>
                      <a:pt x="2861" y="370"/>
                    </a:lnTo>
                    <a:lnTo>
                      <a:pt x="2855" y="328"/>
                    </a:lnTo>
                    <a:lnTo>
                      <a:pt x="2845" y="290"/>
                    </a:lnTo>
                    <a:lnTo>
                      <a:pt x="2831" y="252"/>
                    </a:lnTo>
                    <a:lnTo>
                      <a:pt x="2813" y="216"/>
                    </a:lnTo>
                    <a:lnTo>
                      <a:pt x="2793" y="182"/>
                    </a:lnTo>
                    <a:lnTo>
                      <a:pt x="2769" y="150"/>
                    </a:lnTo>
                    <a:lnTo>
                      <a:pt x="2743" y="120"/>
                    </a:lnTo>
                    <a:lnTo>
                      <a:pt x="2713" y="94"/>
                    </a:lnTo>
                    <a:lnTo>
                      <a:pt x="2683" y="70"/>
                    </a:lnTo>
                    <a:lnTo>
                      <a:pt x="2649" y="50"/>
                    </a:lnTo>
                    <a:lnTo>
                      <a:pt x="2613" y="32"/>
                    </a:lnTo>
                    <a:lnTo>
                      <a:pt x="2575" y="18"/>
                    </a:lnTo>
                    <a:lnTo>
                      <a:pt x="2535" y="8"/>
                    </a:lnTo>
                    <a:lnTo>
                      <a:pt x="2495" y="2"/>
                    </a:lnTo>
                    <a:lnTo>
                      <a:pt x="2451" y="0"/>
                    </a:lnTo>
                    <a:lnTo>
                      <a:pt x="2451" y="0"/>
                    </a:lnTo>
                    <a:close/>
                    <a:moveTo>
                      <a:pt x="2451" y="540"/>
                    </a:moveTo>
                    <a:lnTo>
                      <a:pt x="2451" y="540"/>
                    </a:lnTo>
                    <a:lnTo>
                      <a:pt x="2439" y="540"/>
                    </a:lnTo>
                    <a:lnTo>
                      <a:pt x="2425" y="538"/>
                    </a:lnTo>
                    <a:lnTo>
                      <a:pt x="2413" y="536"/>
                    </a:lnTo>
                    <a:lnTo>
                      <a:pt x="2401" y="530"/>
                    </a:lnTo>
                    <a:lnTo>
                      <a:pt x="2391" y="526"/>
                    </a:lnTo>
                    <a:lnTo>
                      <a:pt x="2379" y="518"/>
                    </a:lnTo>
                    <a:lnTo>
                      <a:pt x="2361" y="504"/>
                    </a:lnTo>
                    <a:lnTo>
                      <a:pt x="2345" y="484"/>
                    </a:lnTo>
                    <a:lnTo>
                      <a:pt x="2339" y="474"/>
                    </a:lnTo>
                    <a:lnTo>
                      <a:pt x="2333" y="462"/>
                    </a:lnTo>
                    <a:lnTo>
                      <a:pt x="2329" y="450"/>
                    </a:lnTo>
                    <a:lnTo>
                      <a:pt x="2325" y="438"/>
                    </a:lnTo>
                    <a:lnTo>
                      <a:pt x="2323" y="424"/>
                    </a:lnTo>
                    <a:lnTo>
                      <a:pt x="2323" y="412"/>
                    </a:lnTo>
                    <a:lnTo>
                      <a:pt x="2323" y="412"/>
                    </a:lnTo>
                    <a:lnTo>
                      <a:pt x="2323" y="398"/>
                    </a:lnTo>
                    <a:lnTo>
                      <a:pt x="2325" y="386"/>
                    </a:lnTo>
                    <a:lnTo>
                      <a:pt x="2329" y="374"/>
                    </a:lnTo>
                    <a:lnTo>
                      <a:pt x="2333" y="362"/>
                    </a:lnTo>
                    <a:lnTo>
                      <a:pt x="2339" y="350"/>
                    </a:lnTo>
                    <a:lnTo>
                      <a:pt x="2345" y="340"/>
                    </a:lnTo>
                    <a:lnTo>
                      <a:pt x="2361" y="320"/>
                    </a:lnTo>
                    <a:lnTo>
                      <a:pt x="2379" y="304"/>
                    </a:lnTo>
                    <a:lnTo>
                      <a:pt x="2391" y="298"/>
                    </a:lnTo>
                    <a:lnTo>
                      <a:pt x="2401" y="292"/>
                    </a:lnTo>
                    <a:lnTo>
                      <a:pt x="2413" y="288"/>
                    </a:lnTo>
                    <a:lnTo>
                      <a:pt x="2425" y="286"/>
                    </a:lnTo>
                    <a:lnTo>
                      <a:pt x="2439" y="284"/>
                    </a:lnTo>
                    <a:lnTo>
                      <a:pt x="2451" y="282"/>
                    </a:lnTo>
                    <a:lnTo>
                      <a:pt x="2451" y="282"/>
                    </a:lnTo>
                    <a:lnTo>
                      <a:pt x="2465" y="284"/>
                    </a:lnTo>
                    <a:lnTo>
                      <a:pt x="2477" y="286"/>
                    </a:lnTo>
                    <a:lnTo>
                      <a:pt x="2491" y="288"/>
                    </a:lnTo>
                    <a:lnTo>
                      <a:pt x="2503" y="292"/>
                    </a:lnTo>
                    <a:lnTo>
                      <a:pt x="2513" y="298"/>
                    </a:lnTo>
                    <a:lnTo>
                      <a:pt x="2525" y="304"/>
                    </a:lnTo>
                    <a:lnTo>
                      <a:pt x="2543" y="320"/>
                    </a:lnTo>
                    <a:lnTo>
                      <a:pt x="2559" y="340"/>
                    </a:lnTo>
                    <a:lnTo>
                      <a:pt x="2565" y="350"/>
                    </a:lnTo>
                    <a:lnTo>
                      <a:pt x="2571" y="362"/>
                    </a:lnTo>
                    <a:lnTo>
                      <a:pt x="2575" y="374"/>
                    </a:lnTo>
                    <a:lnTo>
                      <a:pt x="2579" y="386"/>
                    </a:lnTo>
                    <a:lnTo>
                      <a:pt x="2581" y="398"/>
                    </a:lnTo>
                    <a:lnTo>
                      <a:pt x="2581" y="412"/>
                    </a:lnTo>
                    <a:lnTo>
                      <a:pt x="2581" y="412"/>
                    </a:lnTo>
                    <a:lnTo>
                      <a:pt x="2581" y="424"/>
                    </a:lnTo>
                    <a:lnTo>
                      <a:pt x="2579" y="438"/>
                    </a:lnTo>
                    <a:lnTo>
                      <a:pt x="2575" y="450"/>
                    </a:lnTo>
                    <a:lnTo>
                      <a:pt x="2571" y="462"/>
                    </a:lnTo>
                    <a:lnTo>
                      <a:pt x="2565" y="474"/>
                    </a:lnTo>
                    <a:lnTo>
                      <a:pt x="2559" y="484"/>
                    </a:lnTo>
                    <a:lnTo>
                      <a:pt x="2543" y="504"/>
                    </a:lnTo>
                    <a:lnTo>
                      <a:pt x="2525" y="518"/>
                    </a:lnTo>
                    <a:lnTo>
                      <a:pt x="2513" y="526"/>
                    </a:lnTo>
                    <a:lnTo>
                      <a:pt x="2503" y="530"/>
                    </a:lnTo>
                    <a:lnTo>
                      <a:pt x="2491" y="536"/>
                    </a:lnTo>
                    <a:lnTo>
                      <a:pt x="2477" y="538"/>
                    </a:lnTo>
                    <a:lnTo>
                      <a:pt x="2465" y="540"/>
                    </a:lnTo>
                    <a:lnTo>
                      <a:pt x="2451" y="540"/>
                    </a:lnTo>
                    <a:lnTo>
                      <a:pt x="2451" y="5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</p:grpSp>
        <p:grpSp>
          <p:nvGrpSpPr>
            <p:cNvPr id="224" name="Group 16">
              <a:extLst>
                <a:ext uri="{FF2B5EF4-FFF2-40B4-BE49-F238E27FC236}">
                  <a16:creationId xmlns:a16="http://schemas.microsoft.com/office/drawing/2014/main" id="{10A548E1-24DC-4C51-A49F-2381BADAA1F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2499" y="3305472"/>
              <a:ext cx="430047" cy="429982"/>
              <a:chOff x="986" y="0"/>
              <a:chExt cx="6696" cy="6695"/>
            </a:xfrm>
            <a:solidFill>
              <a:schemeClr val="bg1"/>
            </a:solidFill>
          </p:grpSpPr>
          <p:sp>
            <p:nvSpPr>
              <p:cNvPr id="236" name="Freeform 17">
                <a:extLst>
                  <a:ext uri="{FF2B5EF4-FFF2-40B4-BE49-F238E27FC236}">
                    <a16:creationId xmlns:a16="http://schemas.microsoft.com/office/drawing/2014/main" id="{10381CEA-A319-46AD-A513-745404E51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6" y="0"/>
                <a:ext cx="6696" cy="6695"/>
              </a:xfrm>
              <a:custGeom>
                <a:avLst/>
                <a:gdLst>
                  <a:gd name="T0" fmla="*/ 6412 w 6696"/>
                  <a:gd name="T1" fmla="*/ 286 h 6695"/>
                  <a:gd name="T2" fmla="*/ 6098 w 6696"/>
                  <a:gd name="T3" fmla="*/ 2802 h 6695"/>
                  <a:gd name="T4" fmla="*/ 5586 w 6696"/>
                  <a:gd name="T5" fmla="*/ 2326 h 6695"/>
                  <a:gd name="T6" fmla="*/ 5234 w 6696"/>
                  <a:gd name="T7" fmla="*/ 2058 h 6695"/>
                  <a:gd name="T8" fmla="*/ 4811 w 6696"/>
                  <a:gd name="T9" fmla="*/ 1792 h 6695"/>
                  <a:gd name="T10" fmla="*/ 4387 w 6696"/>
                  <a:gd name="T11" fmla="*/ 1592 h 6695"/>
                  <a:gd name="T12" fmla="*/ 3965 w 6696"/>
                  <a:gd name="T13" fmla="*/ 1456 h 6695"/>
                  <a:gd name="T14" fmla="*/ 3551 w 6696"/>
                  <a:gd name="T15" fmla="*/ 1388 h 6695"/>
                  <a:gd name="T16" fmla="*/ 3213 w 6696"/>
                  <a:gd name="T17" fmla="*/ 1384 h 6695"/>
                  <a:gd name="T18" fmla="*/ 2801 w 6696"/>
                  <a:gd name="T19" fmla="*/ 1440 h 6695"/>
                  <a:gd name="T20" fmla="*/ 2381 w 6696"/>
                  <a:gd name="T21" fmla="*/ 1564 h 6695"/>
                  <a:gd name="T22" fmla="*/ 1957 w 6696"/>
                  <a:gd name="T23" fmla="*/ 1754 h 6695"/>
                  <a:gd name="T24" fmla="*/ 1532 w 6696"/>
                  <a:gd name="T25" fmla="*/ 2008 h 6695"/>
                  <a:gd name="T26" fmla="*/ 1110 w 6696"/>
                  <a:gd name="T27" fmla="*/ 2326 h 6695"/>
                  <a:gd name="T28" fmla="*/ 708 w 6696"/>
                  <a:gd name="T29" fmla="*/ 2690 h 6695"/>
                  <a:gd name="T30" fmla="*/ 286 w 6696"/>
                  <a:gd name="T31" fmla="*/ 286 h 6695"/>
                  <a:gd name="T32" fmla="*/ 5948 w 6696"/>
                  <a:gd name="T33" fmla="*/ 3633 h 6695"/>
                  <a:gd name="T34" fmla="*/ 5534 w 6696"/>
                  <a:gd name="T35" fmla="*/ 4035 h 6695"/>
                  <a:gd name="T36" fmla="*/ 4987 w 6696"/>
                  <a:gd name="T37" fmla="*/ 4459 h 6695"/>
                  <a:gd name="T38" fmla="*/ 4393 w 6696"/>
                  <a:gd name="T39" fmla="*/ 4791 h 6695"/>
                  <a:gd name="T40" fmla="*/ 4039 w 6696"/>
                  <a:gd name="T41" fmla="*/ 4923 h 6695"/>
                  <a:gd name="T42" fmla="*/ 3667 w 6696"/>
                  <a:gd name="T43" fmla="*/ 5005 h 6695"/>
                  <a:gd name="T44" fmla="*/ 3349 w 6696"/>
                  <a:gd name="T45" fmla="*/ 5029 h 6695"/>
                  <a:gd name="T46" fmla="*/ 2965 w 6696"/>
                  <a:gd name="T47" fmla="*/ 4995 h 6695"/>
                  <a:gd name="T48" fmla="*/ 2597 w 6696"/>
                  <a:gd name="T49" fmla="*/ 4905 h 6695"/>
                  <a:gd name="T50" fmla="*/ 2247 w 6696"/>
                  <a:gd name="T51" fmla="*/ 4765 h 6695"/>
                  <a:gd name="T52" fmla="*/ 1608 w 6696"/>
                  <a:gd name="T53" fmla="*/ 4391 h 6695"/>
                  <a:gd name="T54" fmla="*/ 1082 w 6696"/>
                  <a:gd name="T55" fmla="*/ 3963 h 6695"/>
                  <a:gd name="T56" fmla="*/ 644 w 6696"/>
                  <a:gd name="T57" fmla="*/ 3521 h 6695"/>
                  <a:gd name="T58" fmla="*/ 748 w 6696"/>
                  <a:gd name="T59" fmla="*/ 3062 h 6695"/>
                  <a:gd name="T60" fmla="*/ 1160 w 6696"/>
                  <a:gd name="T61" fmla="*/ 2660 h 6695"/>
                  <a:gd name="T62" fmla="*/ 1709 w 6696"/>
                  <a:gd name="T63" fmla="*/ 2236 h 6695"/>
                  <a:gd name="T64" fmla="*/ 2303 w 6696"/>
                  <a:gd name="T65" fmla="*/ 1904 h 6695"/>
                  <a:gd name="T66" fmla="*/ 2657 w 6696"/>
                  <a:gd name="T67" fmla="*/ 1772 h 6695"/>
                  <a:gd name="T68" fmla="*/ 3029 w 6696"/>
                  <a:gd name="T69" fmla="*/ 1688 h 6695"/>
                  <a:gd name="T70" fmla="*/ 3349 w 6696"/>
                  <a:gd name="T71" fmla="*/ 1666 h 6695"/>
                  <a:gd name="T72" fmla="*/ 3731 w 6696"/>
                  <a:gd name="T73" fmla="*/ 1698 h 6695"/>
                  <a:gd name="T74" fmla="*/ 4099 w 6696"/>
                  <a:gd name="T75" fmla="*/ 1790 h 6695"/>
                  <a:gd name="T76" fmla="*/ 4449 w 6696"/>
                  <a:gd name="T77" fmla="*/ 1930 h 6695"/>
                  <a:gd name="T78" fmla="*/ 5088 w 6696"/>
                  <a:gd name="T79" fmla="*/ 2304 h 6695"/>
                  <a:gd name="T80" fmla="*/ 5614 w 6696"/>
                  <a:gd name="T81" fmla="*/ 2732 h 6695"/>
                  <a:gd name="T82" fmla="*/ 6052 w 6696"/>
                  <a:gd name="T83" fmla="*/ 3174 h 6695"/>
                  <a:gd name="T84" fmla="*/ 286 w 6696"/>
                  <a:gd name="T85" fmla="*/ 3541 h 6695"/>
                  <a:gd name="T86" fmla="*/ 832 w 6696"/>
                  <a:gd name="T87" fmla="*/ 4123 h 6695"/>
                  <a:gd name="T88" fmla="*/ 1180 w 6696"/>
                  <a:gd name="T89" fmla="*/ 4427 h 6695"/>
                  <a:gd name="T90" fmla="*/ 1602 w 6696"/>
                  <a:gd name="T91" fmla="*/ 4733 h 6695"/>
                  <a:gd name="T92" fmla="*/ 2027 w 6696"/>
                  <a:gd name="T93" fmla="*/ 4977 h 6695"/>
                  <a:gd name="T94" fmla="*/ 2451 w 6696"/>
                  <a:gd name="T95" fmla="*/ 5155 h 6695"/>
                  <a:gd name="T96" fmla="*/ 2869 w 6696"/>
                  <a:gd name="T97" fmla="*/ 5267 h 6695"/>
                  <a:gd name="T98" fmla="*/ 3281 w 6696"/>
                  <a:gd name="T99" fmla="*/ 5313 h 6695"/>
                  <a:gd name="T100" fmla="*/ 3621 w 6696"/>
                  <a:gd name="T101" fmla="*/ 5299 h 6695"/>
                  <a:gd name="T102" fmla="*/ 4035 w 6696"/>
                  <a:gd name="T103" fmla="*/ 5219 h 6695"/>
                  <a:gd name="T104" fmla="*/ 4457 w 6696"/>
                  <a:gd name="T105" fmla="*/ 5073 h 6695"/>
                  <a:gd name="T106" fmla="*/ 4881 w 6696"/>
                  <a:gd name="T107" fmla="*/ 4863 h 6695"/>
                  <a:gd name="T108" fmla="*/ 5306 w 6696"/>
                  <a:gd name="T109" fmla="*/ 4587 h 6695"/>
                  <a:gd name="T110" fmla="*/ 5660 w 6696"/>
                  <a:gd name="T111" fmla="*/ 4307 h 6695"/>
                  <a:gd name="T112" fmla="*/ 6196 w 6696"/>
                  <a:gd name="T113" fmla="*/ 3787 h 6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696" h="6695">
                    <a:moveTo>
                      <a:pt x="0" y="0"/>
                    </a:moveTo>
                    <a:lnTo>
                      <a:pt x="0" y="6695"/>
                    </a:lnTo>
                    <a:lnTo>
                      <a:pt x="6696" y="6695"/>
                    </a:lnTo>
                    <a:lnTo>
                      <a:pt x="6696" y="0"/>
                    </a:lnTo>
                    <a:lnTo>
                      <a:pt x="0" y="0"/>
                    </a:lnTo>
                    <a:close/>
                    <a:moveTo>
                      <a:pt x="6412" y="286"/>
                    </a:moveTo>
                    <a:lnTo>
                      <a:pt x="6412" y="3154"/>
                    </a:lnTo>
                    <a:lnTo>
                      <a:pt x="6412" y="3154"/>
                    </a:lnTo>
                    <a:lnTo>
                      <a:pt x="6354" y="3084"/>
                    </a:lnTo>
                    <a:lnTo>
                      <a:pt x="6282" y="3002"/>
                    </a:lnTo>
                    <a:lnTo>
                      <a:pt x="6196" y="2906"/>
                    </a:lnTo>
                    <a:lnTo>
                      <a:pt x="6098" y="2802"/>
                    </a:lnTo>
                    <a:lnTo>
                      <a:pt x="5988" y="2690"/>
                    </a:lnTo>
                    <a:lnTo>
                      <a:pt x="5864" y="2572"/>
                    </a:lnTo>
                    <a:lnTo>
                      <a:pt x="5800" y="2512"/>
                    </a:lnTo>
                    <a:lnTo>
                      <a:pt x="5730" y="2450"/>
                    </a:lnTo>
                    <a:lnTo>
                      <a:pt x="5660" y="2388"/>
                    </a:lnTo>
                    <a:lnTo>
                      <a:pt x="5586" y="2326"/>
                    </a:lnTo>
                    <a:lnTo>
                      <a:pt x="5586" y="2326"/>
                    </a:lnTo>
                    <a:lnTo>
                      <a:pt x="5516" y="2268"/>
                    </a:lnTo>
                    <a:lnTo>
                      <a:pt x="5446" y="2212"/>
                    </a:lnTo>
                    <a:lnTo>
                      <a:pt x="5376" y="2160"/>
                    </a:lnTo>
                    <a:lnTo>
                      <a:pt x="5306" y="2108"/>
                    </a:lnTo>
                    <a:lnTo>
                      <a:pt x="5234" y="2058"/>
                    </a:lnTo>
                    <a:lnTo>
                      <a:pt x="5164" y="2008"/>
                    </a:lnTo>
                    <a:lnTo>
                      <a:pt x="5094" y="1962"/>
                    </a:lnTo>
                    <a:lnTo>
                      <a:pt x="5024" y="1916"/>
                    </a:lnTo>
                    <a:lnTo>
                      <a:pt x="4951" y="1874"/>
                    </a:lnTo>
                    <a:lnTo>
                      <a:pt x="4881" y="1832"/>
                    </a:lnTo>
                    <a:lnTo>
                      <a:pt x="4811" y="1792"/>
                    </a:lnTo>
                    <a:lnTo>
                      <a:pt x="4739" y="1754"/>
                    </a:lnTo>
                    <a:lnTo>
                      <a:pt x="4669" y="1718"/>
                    </a:lnTo>
                    <a:lnTo>
                      <a:pt x="4599" y="1684"/>
                    </a:lnTo>
                    <a:lnTo>
                      <a:pt x="4527" y="1652"/>
                    </a:lnTo>
                    <a:lnTo>
                      <a:pt x="4457" y="1620"/>
                    </a:lnTo>
                    <a:lnTo>
                      <a:pt x="4387" y="1592"/>
                    </a:lnTo>
                    <a:lnTo>
                      <a:pt x="4315" y="1564"/>
                    </a:lnTo>
                    <a:lnTo>
                      <a:pt x="4245" y="1540"/>
                    </a:lnTo>
                    <a:lnTo>
                      <a:pt x="4175" y="1516"/>
                    </a:lnTo>
                    <a:lnTo>
                      <a:pt x="4105" y="1494"/>
                    </a:lnTo>
                    <a:lnTo>
                      <a:pt x="4035" y="1474"/>
                    </a:lnTo>
                    <a:lnTo>
                      <a:pt x="3965" y="1456"/>
                    </a:lnTo>
                    <a:lnTo>
                      <a:pt x="3897" y="1440"/>
                    </a:lnTo>
                    <a:lnTo>
                      <a:pt x="3827" y="1426"/>
                    </a:lnTo>
                    <a:lnTo>
                      <a:pt x="3757" y="1414"/>
                    </a:lnTo>
                    <a:lnTo>
                      <a:pt x="3689" y="1404"/>
                    </a:lnTo>
                    <a:lnTo>
                      <a:pt x="3621" y="1396"/>
                    </a:lnTo>
                    <a:lnTo>
                      <a:pt x="3551" y="1388"/>
                    </a:lnTo>
                    <a:lnTo>
                      <a:pt x="3483" y="1384"/>
                    </a:lnTo>
                    <a:lnTo>
                      <a:pt x="3415" y="1380"/>
                    </a:lnTo>
                    <a:lnTo>
                      <a:pt x="3349" y="1380"/>
                    </a:lnTo>
                    <a:lnTo>
                      <a:pt x="3349" y="1380"/>
                    </a:lnTo>
                    <a:lnTo>
                      <a:pt x="3281" y="1380"/>
                    </a:lnTo>
                    <a:lnTo>
                      <a:pt x="3213" y="1384"/>
                    </a:lnTo>
                    <a:lnTo>
                      <a:pt x="3145" y="1388"/>
                    </a:lnTo>
                    <a:lnTo>
                      <a:pt x="3077" y="1396"/>
                    </a:lnTo>
                    <a:lnTo>
                      <a:pt x="3007" y="1404"/>
                    </a:lnTo>
                    <a:lnTo>
                      <a:pt x="2939" y="1414"/>
                    </a:lnTo>
                    <a:lnTo>
                      <a:pt x="2869" y="1426"/>
                    </a:lnTo>
                    <a:lnTo>
                      <a:pt x="2801" y="1440"/>
                    </a:lnTo>
                    <a:lnTo>
                      <a:pt x="2731" y="1456"/>
                    </a:lnTo>
                    <a:lnTo>
                      <a:pt x="2661" y="1474"/>
                    </a:lnTo>
                    <a:lnTo>
                      <a:pt x="2591" y="1494"/>
                    </a:lnTo>
                    <a:lnTo>
                      <a:pt x="2521" y="1516"/>
                    </a:lnTo>
                    <a:lnTo>
                      <a:pt x="2451" y="1540"/>
                    </a:lnTo>
                    <a:lnTo>
                      <a:pt x="2381" y="1564"/>
                    </a:lnTo>
                    <a:lnTo>
                      <a:pt x="2311" y="1592"/>
                    </a:lnTo>
                    <a:lnTo>
                      <a:pt x="2239" y="1620"/>
                    </a:lnTo>
                    <a:lnTo>
                      <a:pt x="2169" y="1652"/>
                    </a:lnTo>
                    <a:lnTo>
                      <a:pt x="2099" y="1684"/>
                    </a:lnTo>
                    <a:lnTo>
                      <a:pt x="2027" y="1718"/>
                    </a:lnTo>
                    <a:lnTo>
                      <a:pt x="1957" y="1754"/>
                    </a:lnTo>
                    <a:lnTo>
                      <a:pt x="1887" y="1792"/>
                    </a:lnTo>
                    <a:lnTo>
                      <a:pt x="1815" y="1832"/>
                    </a:lnTo>
                    <a:lnTo>
                      <a:pt x="1745" y="1874"/>
                    </a:lnTo>
                    <a:lnTo>
                      <a:pt x="1675" y="1916"/>
                    </a:lnTo>
                    <a:lnTo>
                      <a:pt x="1602" y="1962"/>
                    </a:lnTo>
                    <a:lnTo>
                      <a:pt x="1532" y="2008"/>
                    </a:lnTo>
                    <a:lnTo>
                      <a:pt x="1462" y="2058"/>
                    </a:lnTo>
                    <a:lnTo>
                      <a:pt x="1392" y="2108"/>
                    </a:lnTo>
                    <a:lnTo>
                      <a:pt x="1320" y="2160"/>
                    </a:lnTo>
                    <a:lnTo>
                      <a:pt x="1250" y="2212"/>
                    </a:lnTo>
                    <a:lnTo>
                      <a:pt x="1180" y="2268"/>
                    </a:lnTo>
                    <a:lnTo>
                      <a:pt x="1110" y="2326"/>
                    </a:lnTo>
                    <a:lnTo>
                      <a:pt x="1110" y="2326"/>
                    </a:lnTo>
                    <a:lnTo>
                      <a:pt x="1036" y="2388"/>
                    </a:lnTo>
                    <a:lnTo>
                      <a:pt x="966" y="2450"/>
                    </a:lnTo>
                    <a:lnTo>
                      <a:pt x="898" y="2512"/>
                    </a:lnTo>
                    <a:lnTo>
                      <a:pt x="832" y="2572"/>
                    </a:lnTo>
                    <a:lnTo>
                      <a:pt x="708" y="2690"/>
                    </a:lnTo>
                    <a:lnTo>
                      <a:pt x="598" y="2802"/>
                    </a:lnTo>
                    <a:lnTo>
                      <a:pt x="500" y="2906"/>
                    </a:lnTo>
                    <a:lnTo>
                      <a:pt x="414" y="3002"/>
                    </a:lnTo>
                    <a:lnTo>
                      <a:pt x="342" y="3084"/>
                    </a:lnTo>
                    <a:lnTo>
                      <a:pt x="286" y="3154"/>
                    </a:lnTo>
                    <a:lnTo>
                      <a:pt x="286" y="286"/>
                    </a:lnTo>
                    <a:lnTo>
                      <a:pt x="6412" y="286"/>
                    </a:lnTo>
                    <a:close/>
                    <a:moveTo>
                      <a:pt x="6200" y="3348"/>
                    </a:moveTo>
                    <a:lnTo>
                      <a:pt x="6200" y="3348"/>
                    </a:lnTo>
                    <a:lnTo>
                      <a:pt x="6136" y="3423"/>
                    </a:lnTo>
                    <a:lnTo>
                      <a:pt x="6052" y="3521"/>
                    </a:lnTo>
                    <a:lnTo>
                      <a:pt x="5948" y="3633"/>
                    </a:lnTo>
                    <a:lnTo>
                      <a:pt x="5890" y="3695"/>
                    </a:lnTo>
                    <a:lnTo>
                      <a:pt x="5826" y="3759"/>
                    </a:lnTo>
                    <a:lnTo>
                      <a:pt x="5760" y="3825"/>
                    </a:lnTo>
                    <a:lnTo>
                      <a:pt x="5688" y="3893"/>
                    </a:lnTo>
                    <a:lnTo>
                      <a:pt x="5614" y="3963"/>
                    </a:lnTo>
                    <a:lnTo>
                      <a:pt x="5534" y="4035"/>
                    </a:lnTo>
                    <a:lnTo>
                      <a:pt x="5452" y="4105"/>
                    </a:lnTo>
                    <a:lnTo>
                      <a:pt x="5366" y="4177"/>
                    </a:lnTo>
                    <a:lnTo>
                      <a:pt x="5276" y="4249"/>
                    </a:lnTo>
                    <a:lnTo>
                      <a:pt x="5184" y="4321"/>
                    </a:lnTo>
                    <a:lnTo>
                      <a:pt x="5088" y="4391"/>
                    </a:lnTo>
                    <a:lnTo>
                      <a:pt x="4987" y="4459"/>
                    </a:lnTo>
                    <a:lnTo>
                      <a:pt x="4885" y="4525"/>
                    </a:lnTo>
                    <a:lnTo>
                      <a:pt x="4781" y="4589"/>
                    </a:lnTo>
                    <a:lnTo>
                      <a:pt x="4673" y="4651"/>
                    </a:lnTo>
                    <a:lnTo>
                      <a:pt x="4563" y="4711"/>
                    </a:lnTo>
                    <a:lnTo>
                      <a:pt x="4449" y="4765"/>
                    </a:lnTo>
                    <a:lnTo>
                      <a:pt x="4393" y="4791"/>
                    </a:lnTo>
                    <a:lnTo>
                      <a:pt x="4335" y="4815"/>
                    </a:lnTo>
                    <a:lnTo>
                      <a:pt x="4277" y="4839"/>
                    </a:lnTo>
                    <a:lnTo>
                      <a:pt x="4217" y="4863"/>
                    </a:lnTo>
                    <a:lnTo>
                      <a:pt x="4159" y="4883"/>
                    </a:lnTo>
                    <a:lnTo>
                      <a:pt x="4099" y="4905"/>
                    </a:lnTo>
                    <a:lnTo>
                      <a:pt x="4039" y="4923"/>
                    </a:lnTo>
                    <a:lnTo>
                      <a:pt x="3977" y="4941"/>
                    </a:lnTo>
                    <a:lnTo>
                      <a:pt x="3917" y="4957"/>
                    </a:lnTo>
                    <a:lnTo>
                      <a:pt x="3855" y="4971"/>
                    </a:lnTo>
                    <a:lnTo>
                      <a:pt x="3793" y="4985"/>
                    </a:lnTo>
                    <a:lnTo>
                      <a:pt x="3731" y="4995"/>
                    </a:lnTo>
                    <a:lnTo>
                      <a:pt x="3667" y="5005"/>
                    </a:lnTo>
                    <a:lnTo>
                      <a:pt x="3605" y="5015"/>
                    </a:lnTo>
                    <a:lnTo>
                      <a:pt x="3541" y="5021"/>
                    </a:lnTo>
                    <a:lnTo>
                      <a:pt x="3477" y="5025"/>
                    </a:lnTo>
                    <a:lnTo>
                      <a:pt x="3413" y="5029"/>
                    </a:lnTo>
                    <a:lnTo>
                      <a:pt x="3349" y="5029"/>
                    </a:lnTo>
                    <a:lnTo>
                      <a:pt x="3349" y="5029"/>
                    </a:lnTo>
                    <a:lnTo>
                      <a:pt x="3283" y="5029"/>
                    </a:lnTo>
                    <a:lnTo>
                      <a:pt x="3219" y="5025"/>
                    </a:lnTo>
                    <a:lnTo>
                      <a:pt x="3155" y="5021"/>
                    </a:lnTo>
                    <a:lnTo>
                      <a:pt x="3093" y="5015"/>
                    </a:lnTo>
                    <a:lnTo>
                      <a:pt x="3029" y="5005"/>
                    </a:lnTo>
                    <a:lnTo>
                      <a:pt x="2965" y="4995"/>
                    </a:lnTo>
                    <a:lnTo>
                      <a:pt x="2903" y="4985"/>
                    </a:lnTo>
                    <a:lnTo>
                      <a:pt x="2841" y="4971"/>
                    </a:lnTo>
                    <a:lnTo>
                      <a:pt x="2779" y="4957"/>
                    </a:lnTo>
                    <a:lnTo>
                      <a:pt x="2719" y="4941"/>
                    </a:lnTo>
                    <a:lnTo>
                      <a:pt x="2657" y="4923"/>
                    </a:lnTo>
                    <a:lnTo>
                      <a:pt x="2597" y="4905"/>
                    </a:lnTo>
                    <a:lnTo>
                      <a:pt x="2537" y="4883"/>
                    </a:lnTo>
                    <a:lnTo>
                      <a:pt x="2479" y="4863"/>
                    </a:lnTo>
                    <a:lnTo>
                      <a:pt x="2419" y="4839"/>
                    </a:lnTo>
                    <a:lnTo>
                      <a:pt x="2361" y="4815"/>
                    </a:lnTo>
                    <a:lnTo>
                      <a:pt x="2303" y="4791"/>
                    </a:lnTo>
                    <a:lnTo>
                      <a:pt x="2247" y="4765"/>
                    </a:lnTo>
                    <a:lnTo>
                      <a:pt x="2133" y="4709"/>
                    </a:lnTo>
                    <a:lnTo>
                      <a:pt x="2023" y="4651"/>
                    </a:lnTo>
                    <a:lnTo>
                      <a:pt x="1917" y="4589"/>
                    </a:lnTo>
                    <a:lnTo>
                      <a:pt x="1811" y="4525"/>
                    </a:lnTo>
                    <a:lnTo>
                      <a:pt x="1709" y="4459"/>
                    </a:lnTo>
                    <a:lnTo>
                      <a:pt x="1608" y="4391"/>
                    </a:lnTo>
                    <a:lnTo>
                      <a:pt x="1512" y="4321"/>
                    </a:lnTo>
                    <a:lnTo>
                      <a:pt x="1420" y="4249"/>
                    </a:lnTo>
                    <a:lnTo>
                      <a:pt x="1330" y="4177"/>
                    </a:lnTo>
                    <a:lnTo>
                      <a:pt x="1244" y="4105"/>
                    </a:lnTo>
                    <a:lnTo>
                      <a:pt x="1162" y="4035"/>
                    </a:lnTo>
                    <a:lnTo>
                      <a:pt x="1082" y="3963"/>
                    </a:lnTo>
                    <a:lnTo>
                      <a:pt x="1008" y="3893"/>
                    </a:lnTo>
                    <a:lnTo>
                      <a:pt x="936" y="3825"/>
                    </a:lnTo>
                    <a:lnTo>
                      <a:pt x="870" y="3759"/>
                    </a:lnTo>
                    <a:lnTo>
                      <a:pt x="806" y="3695"/>
                    </a:lnTo>
                    <a:lnTo>
                      <a:pt x="748" y="3633"/>
                    </a:lnTo>
                    <a:lnTo>
                      <a:pt x="644" y="3521"/>
                    </a:lnTo>
                    <a:lnTo>
                      <a:pt x="560" y="3423"/>
                    </a:lnTo>
                    <a:lnTo>
                      <a:pt x="496" y="3348"/>
                    </a:lnTo>
                    <a:lnTo>
                      <a:pt x="496" y="3348"/>
                    </a:lnTo>
                    <a:lnTo>
                      <a:pt x="560" y="3270"/>
                    </a:lnTo>
                    <a:lnTo>
                      <a:pt x="644" y="3174"/>
                    </a:lnTo>
                    <a:lnTo>
                      <a:pt x="748" y="3062"/>
                    </a:lnTo>
                    <a:lnTo>
                      <a:pt x="806" y="3000"/>
                    </a:lnTo>
                    <a:lnTo>
                      <a:pt x="868" y="2936"/>
                    </a:lnTo>
                    <a:lnTo>
                      <a:pt x="936" y="2870"/>
                    </a:lnTo>
                    <a:lnTo>
                      <a:pt x="1006" y="2800"/>
                    </a:lnTo>
                    <a:lnTo>
                      <a:pt x="1082" y="2732"/>
                    </a:lnTo>
                    <a:lnTo>
                      <a:pt x="1160" y="2660"/>
                    </a:lnTo>
                    <a:lnTo>
                      <a:pt x="1244" y="2588"/>
                    </a:lnTo>
                    <a:lnTo>
                      <a:pt x="1330" y="2516"/>
                    </a:lnTo>
                    <a:lnTo>
                      <a:pt x="1418" y="2446"/>
                    </a:lnTo>
                    <a:lnTo>
                      <a:pt x="1512" y="2374"/>
                    </a:lnTo>
                    <a:lnTo>
                      <a:pt x="1608" y="2304"/>
                    </a:lnTo>
                    <a:lnTo>
                      <a:pt x="1709" y="2236"/>
                    </a:lnTo>
                    <a:lnTo>
                      <a:pt x="1811" y="2168"/>
                    </a:lnTo>
                    <a:lnTo>
                      <a:pt x="1915" y="2104"/>
                    </a:lnTo>
                    <a:lnTo>
                      <a:pt x="2023" y="2042"/>
                    </a:lnTo>
                    <a:lnTo>
                      <a:pt x="2133" y="1984"/>
                    </a:lnTo>
                    <a:lnTo>
                      <a:pt x="2245" y="1930"/>
                    </a:lnTo>
                    <a:lnTo>
                      <a:pt x="2303" y="1904"/>
                    </a:lnTo>
                    <a:lnTo>
                      <a:pt x="2361" y="1878"/>
                    </a:lnTo>
                    <a:lnTo>
                      <a:pt x="2419" y="1854"/>
                    </a:lnTo>
                    <a:lnTo>
                      <a:pt x="2477" y="1832"/>
                    </a:lnTo>
                    <a:lnTo>
                      <a:pt x="2537" y="1810"/>
                    </a:lnTo>
                    <a:lnTo>
                      <a:pt x="2597" y="1790"/>
                    </a:lnTo>
                    <a:lnTo>
                      <a:pt x="2657" y="1772"/>
                    </a:lnTo>
                    <a:lnTo>
                      <a:pt x="2717" y="1754"/>
                    </a:lnTo>
                    <a:lnTo>
                      <a:pt x="2779" y="1738"/>
                    </a:lnTo>
                    <a:lnTo>
                      <a:pt x="2841" y="1724"/>
                    </a:lnTo>
                    <a:lnTo>
                      <a:pt x="2903" y="1710"/>
                    </a:lnTo>
                    <a:lnTo>
                      <a:pt x="2965" y="1698"/>
                    </a:lnTo>
                    <a:lnTo>
                      <a:pt x="3029" y="1688"/>
                    </a:lnTo>
                    <a:lnTo>
                      <a:pt x="3091" y="1680"/>
                    </a:lnTo>
                    <a:lnTo>
                      <a:pt x="3155" y="1674"/>
                    </a:lnTo>
                    <a:lnTo>
                      <a:pt x="3219" y="1670"/>
                    </a:lnTo>
                    <a:lnTo>
                      <a:pt x="3283" y="1666"/>
                    </a:lnTo>
                    <a:lnTo>
                      <a:pt x="3349" y="1666"/>
                    </a:lnTo>
                    <a:lnTo>
                      <a:pt x="3349" y="1666"/>
                    </a:lnTo>
                    <a:lnTo>
                      <a:pt x="3413" y="1666"/>
                    </a:lnTo>
                    <a:lnTo>
                      <a:pt x="3477" y="1670"/>
                    </a:lnTo>
                    <a:lnTo>
                      <a:pt x="3541" y="1674"/>
                    </a:lnTo>
                    <a:lnTo>
                      <a:pt x="3605" y="1680"/>
                    </a:lnTo>
                    <a:lnTo>
                      <a:pt x="3667" y="1688"/>
                    </a:lnTo>
                    <a:lnTo>
                      <a:pt x="3731" y="1698"/>
                    </a:lnTo>
                    <a:lnTo>
                      <a:pt x="3793" y="1710"/>
                    </a:lnTo>
                    <a:lnTo>
                      <a:pt x="3855" y="1724"/>
                    </a:lnTo>
                    <a:lnTo>
                      <a:pt x="3917" y="1738"/>
                    </a:lnTo>
                    <a:lnTo>
                      <a:pt x="3977" y="1754"/>
                    </a:lnTo>
                    <a:lnTo>
                      <a:pt x="4039" y="1772"/>
                    </a:lnTo>
                    <a:lnTo>
                      <a:pt x="4099" y="1790"/>
                    </a:lnTo>
                    <a:lnTo>
                      <a:pt x="4159" y="1810"/>
                    </a:lnTo>
                    <a:lnTo>
                      <a:pt x="4217" y="1832"/>
                    </a:lnTo>
                    <a:lnTo>
                      <a:pt x="4277" y="1854"/>
                    </a:lnTo>
                    <a:lnTo>
                      <a:pt x="4335" y="1878"/>
                    </a:lnTo>
                    <a:lnTo>
                      <a:pt x="4393" y="1904"/>
                    </a:lnTo>
                    <a:lnTo>
                      <a:pt x="4449" y="1930"/>
                    </a:lnTo>
                    <a:lnTo>
                      <a:pt x="4563" y="1984"/>
                    </a:lnTo>
                    <a:lnTo>
                      <a:pt x="4673" y="2042"/>
                    </a:lnTo>
                    <a:lnTo>
                      <a:pt x="4781" y="2104"/>
                    </a:lnTo>
                    <a:lnTo>
                      <a:pt x="4885" y="2168"/>
                    </a:lnTo>
                    <a:lnTo>
                      <a:pt x="4987" y="2236"/>
                    </a:lnTo>
                    <a:lnTo>
                      <a:pt x="5088" y="2304"/>
                    </a:lnTo>
                    <a:lnTo>
                      <a:pt x="5184" y="2374"/>
                    </a:lnTo>
                    <a:lnTo>
                      <a:pt x="5276" y="2446"/>
                    </a:lnTo>
                    <a:lnTo>
                      <a:pt x="5366" y="2516"/>
                    </a:lnTo>
                    <a:lnTo>
                      <a:pt x="5452" y="2588"/>
                    </a:lnTo>
                    <a:lnTo>
                      <a:pt x="5534" y="2660"/>
                    </a:lnTo>
                    <a:lnTo>
                      <a:pt x="5614" y="2732"/>
                    </a:lnTo>
                    <a:lnTo>
                      <a:pt x="5688" y="2802"/>
                    </a:lnTo>
                    <a:lnTo>
                      <a:pt x="5760" y="2870"/>
                    </a:lnTo>
                    <a:lnTo>
                      <a:pt x="5826" y="2936"/>
                    </a:lnTo>
                    <a:lnTo>
                      <a:pt x="5890" y="3000"/>
                    </a:lnTo>
                    <a:lnTo>
                      <a:pt x="5948" y="3062"/>
                    </a:lnTo>
                    <a:lnTo>
                      <a:pt x="6052" y="3174"/>
                    </a:lnTo>
                    <a:lnTo>
                      <a:pt x="6136" y="3270"/>
                    </a:lnTo>
                    <a:lnTo>
                      <a:pt x="6200" y="3348"/>
                    </a:lnTo>
                    <a:lnTo>
                      <a:pt x="6200" y="3348"/>
                    </a:lnTo>
                    <a:close/>
                    <a:moveTo>
                      <a:pt x="286" y="6409"/>
                    </a:moveTo>
                    <a:lnTo>
                      <a:pt x="286" y="3541"/>
                    </a:lnTo>
                    <a:lnTo>
                      <a:pt x="286" y="3541"/>
                    </a:lnTo>
                    <a:lnTo>
                      <a:pt x="342" y="3611"/>
                    </a:lnTo>
                    <a:lnTo>
                      <a:pt x="414" y="3693"/>
                    </a:lnTo>
                    <a:lnTo>
                      <a:pt x="500" y="3787"/>
                    </a:lnTo>
                    <a:lnTo>
                      <a:pt x="598" y="3891"/>
                    </a:lnTo>
                    <a:lnTo>
                      <a:pt x="708" y="4005"/>
                    </a:lnTo>
                    <a:lnTo>
                      <a:pt x="832" y="4123"/>
                    </a:lnTo>
                    <a:lnTo>
                      <a:pt x="898" y="4183"/>
                    </a:lnTo>
                    <a:lnTo>
                      <a:pt x="966" y="4245"/>
                    </a:lnTo>
                    <a:lnTo>
                      <a:pt x="1036" y="4307"/>
                    </a:lnTo>
                    <a:lnTo>
                      <a:pt x="1110" y="4369"/>
                    </a:lnTo>
                    <a:lnTo>
                      <a:pt x="1110" y="4369"/>
                    </a:lnTo>
                    <a:lnTo>
                      <a:pt x="1180" y="4427"/>
                    </a:lnTo>
                    <a:lnTo>
                      <a:pt x="1250" y="4481"/>
                    </a:lnTo>
                    <a:lnTo>
                      <a:pt x="1320" y="4535"/>
                    </a:lnTo>
                    <a:lnTo>
                      <a:pt x="1392" y="4587"/>
                    </a:lnTo>
                    <a:lnTo>
                      <a:pt x="1462" y="4637"/>
                    </a:lnTo>
                    <a:lnTo>
                      <a:pt x="1532" y="4685"/>
                    </a:lnTo>
                    <a:lnTo>
                      <a:pt x="1602" y="4733"/>
                    </a:lnTo>
                    <a:lnTo>
                      <a:pt x="1675" y="4777"/>
                    </a:lnTo>
                    <a:lnTo>
                      <a:pt x="1745" y="4821"/>
                    </a:lnTo>
                    <a:lnTo>
                      <a:pt x="1815" y="4863"/>
                    </a:lnTo>
                    <a:lnTo>
                      <a:pt x="1887" y="4903"/>
                    </a:lnTo>
                    <a:lnTo>
                      <a:pt x="1957" y="4941"/>
                    </a:lnTo>
                    <a:lnTo>
                      <a:pt x="2027" y="4977"/>
                    </a:lnTo>
                    <a:lnTo>
                      <a:pt x="2099" y="5011"/>
                    </a:lnTo>
                    <a:lnTo>
                      <a:pt x="2169" y="5043"/>
                    </a:lnTo>
                    <a:lnTo>
                      <a:pt x="2239" y="5073"/>
                    </a:lnTo>
                    <a:lnTo>
                      <a:pt x="2311" y="5103"/>
                    </a:lnTo>
                    <a:lnTo>
                      <a:pt x="2381" y="5129"/>
                    </a:lnTo>
                    <a:lnTo>
                      <a:pt x="2451" y="5155"/>
                    </a:lnTo>
                    <a:lnTo>
                      <a:pt x="2521" y="5179"/>
                    </a:lnTo>
                    <a:lnTo>
                      <a:pt x="2591" y="5201"/>
                    </a:lnTo>
                    <a:lnTo>
                      <a:pt x="2661" y="5219"/>
                    </a:lnTo>
                    <a:lnTo>
                      <a:pt x="2731" y="5237"/>
                    </a:lnTo>
                    <a:lnTo>
                      <a:pt x="2801" y="5253"/>
                    </a:lnTo>
                    <a:lnTo>
                      <a:pt x="2869" y="5267"/>
                    </a:lnTo>
                    <a:lnTo>
                      <a:pt x="2939" y="5281"/>
                    </a:lnTo>
                    <a:lnTo>
                      <a:pt x="3007" y="5291"/>
                    </a:lnTo>
                    <a:lnTo>
                      <a:pt x="3077" y="5299"/>
                    </a:lnTo>
                    <a:lnTo>
                      <a:pt x="3145" y="5305"/>
                    </a:lnTo>
                    <a:lnTo>
                      <a:pt x="3213" y="5311"/>
                    </a:lnTo>
                    <a:lnTo>
                      <a:pt x="3281" y="5313"/>
                    </a:lnTo>
                    <a:lnTo>
                      <a:pt x="3349" y="5315"/>
                    </a:lnTo>
                    <a:lnTo>
                      <a:pt x="3349" y="5315"/>
                    </a:lnTo>
                    <a:lnTo>
                      <a:pt x="3415" y="5313"/>
                    </a:lnTo>
                    <a:lnTo>
                      <a:pt x="3483" y="5311"/>
                    </a:lnTo>
                    <a:lnTo>
                      <a:pt x="3551" y="5305"/>
                    </a:lnTo>
                    <a:lnTo>
                      <a:pt x="3621" y="5299"/>
                    </a:lnTo>
                    <a:lnTo>
                      <a:pt x="3689" y="5291"/>
                    </a:lnTo>
                    <a:lnTo>
                      <a:pt x="3757" y="5281"/>
                    </a:lnTo>
                    <a:lnTo>
                      <a:pt x="3827" y="5267"/>
                    </a:lnTo>
                    <a:lnTo>
                      <a:pt x="3897" y="5253"/>
                    </a:lnTo>
                    <a:lnTo>
                      <a:pt x="3965" y="5237"/>
                    </a:lnTo>
                    <a:lnTo>
                      <a:pt x="4035" y="5219"/>
                    </a:lnTo>
                    <a:lnTo>
                      <a:pt x="4105" y="5201"/>
                    </a:lnTo>
                    <a:lnTo>
                      <a:pt x="4175" y="5179"/>
                    </a:lnTo>
                    <a:lnTo>
                      <a:pt x="4245" y="5155"/>
                    </a:lnTo>
                    <a:lnTo>
                      <a:pt x="4315" y="5129"/>
                    </a:lnTo>
                    <a:lnTo>
                      <a:pt x="4387" y="5103"/>
                    </a:lnTo>
                    <a:lnTo>
                      <a:pt x="4457" y="5073"/>
                    </a:lnTo>
                    <a:lnTo>
                      <a:pt x="4527" y="5043"/>
                    </a:lnTo>
                    <a:lnTo>
                      <a:pt x="4599" y="5011"/>
                    </a:lnTo>
                    <a:lnTo>
                      <a:pt x="4669" y="4977"/>
                    </a:lnTo>
                    <a:lnTo>
                      <a:pt x="4739" y="4941"/>
                    </a:lnTo>
                    <a:lnTo>
                      <a:pt x="4811" y="4903"/>
                    </a:lnTo>
                    <a:lnTo>
                      <a:pt x="4881" y="4863"/>
                    </a:lnTo>
                    <a:lnTo>
                      <a:pt x="4951" y="4821"/>
                    </a:lnTo>
                    <a:lnTo>
                      <a:pt x="5024" y="4777"/>
                    </a:lnTo>
                    <a:lnTo>
                      <a:pt x="5094" y="4733"/>
                    </a:lnTo>
                    <a:lnTo>
                      <a:pt x="5164" y="4685"/>
                    </a:lnTo>
                    <a:lnTo>
                      <a:pt x="5234" y="4637"/>
                    </a:lnTo>
                    <a:lnTo>
                      <a:pt x="5306" y="4587"/>
                    </a:lnTo>
                    <a:lnTo>
                      <a:pt x="5376" y="4535"/>
                    </a:lnTo>
                    <a:lnTo>
                      <a:pt x="5446" y="4481"/>
                    </a:lnTo>
                    <a:lnTo>
                      <a:pt x="5516" y="4427"/>
                    </a:lnTo>
                    <a:lnTo>
                      <a:pt x="5586" y="4369"/>
                    </a:lnTo>
                    <a:lnTo>
                      <a:pt x="5586" y="4369"/>
                    </a:lnTo>
                    <a:lnTo>
                      <a:pt x="5660" y="4307"/>
                    </a:lnTo>
                    <a:lnTo>
                      <a:pt x="5730" y="4245"/>
                    </a:lnTo>
                    <a:lnTo>
                      <a:pt x="5800" y="4183"/>
                    </a:lnTo>
                    <a:lnTo>
                      <a:pt x="5864" y="4123"/>
                    </a:lnTo>
                    <a:lnTo>
                      <a:pt x="5988" y="4003"/>
                    </a:lnTo>
                    <a:lnTo>
                      <a:pt x="6098" y="3891"/>
                    </a:lnTo>
                    <a:lnTo>
                      <a:pt x="6196" y="3787"/>
                    </a:lnTo>
                    <a:lnTo>
                      <a:pt x="6282" y="3693"/>
                    </a:lnTo>
                    <a:lnTo>
                      <a:pt x="6354" y="3611"/>
                    </a:lnTo>
                    <a:lnTo>
                      <a:pt x="6412" y="3541"/>
                    </a:lnTo>
                    <a:lnTo>
                      <a:pt x="6412" y="6409"/>
                    </a:lnTo>
                    <a:lnTo>
                      <a:pt x="286" y="64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37" name="Freeform 18">
                <a:extLst>
                  <a:ext uri="{FF2B5EF4-FFF2-40B4-BE49-F238E27FC236}">
                    <a16:creationId xmlns:a16="http://schemas.microsoft.com/office/drawing/2014/main" id="{AC1AF827-1CD1-4F45-BB30-055ECD3E9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3" y="1856"/>
                <a:ext cx="2984" cy="2983"/>
              </a:xfrm>
              <a:custGeom>
                <a:avLst/>
                <a:gdLst>
                  <a:gd name="T0" fmla="*/ 1264 w 2984"/>
                  <a:gd name="T1" fmla="*/ 16 h 2983"/>
                  <a:gd name="T2" fmla="*/ 910 w 2984"/>
                  <a:gd name="T3" fmla="*/ 118 h 2983"/>
                  <a:gd name="T4" fmla="*/ 600 w 2984"/>
                  <a:gd name="T5" fmla="*/ 296 h 2983"/>
                  <a:gd name="T6" fmla="*/ 340 w 2984"/>
                  <a:gd name="T7" fmla="*/ 544 h 2983"/>
                  <a:gd name="T8" fmla="*/ 146 w 2984"/>
                  <a:gd name="T9" fmla="*/ 846 h 2983"/>
                  <a:gd name="T10" fmla="*/ 30 w 2984"/>
                  <a:gd name="T11" fmla="*/ 1192 h 2983"/>
                  <a:gd name="T12" fmla="*/ 0 w 2984"/>
                  <a:gd name="T13" fmla="*/ 1492 h 2983"/>
                  <a:gd name="T14" fmla="*/ 46 w 2984"/>
                  <a:gd name="T15" fmla="*/ 1863 h 2983"/>
                  <a:gd name="T16" fmla="*/ 180 w 2984"/>
                  <a:gd name="T17" fmla="*/ 2201 h 2983"/>
                  <a:gd name="T18" fmla="*/ 388 w 2984"/>
                  <a:gd name="T19" fmla="*/ 2493 h 2983"/>
                  <a:gd name="T20" fmla="*/ 658 w 2984"/>
                  <a:gd name="T21" fmla="*/ 2727 h 2983"/>
                  <a:gd name="T22" fmla="*/ 978 w 2984"/>
                  <a:gd name="T23" fmla="*/ 2893 h 2983"/>
                  <a:gd name="T24" fmla="*/ 1338 w 2984"/>
                  <a:gd name="T25" fmla="*/ 2975 h 2983"/>
                  <a:gd name="T26" fmla="*/ 1644 w 2984"/>
                  <a:gd name="T27" fmla="*/ 2975 h 2983"/>
                  <a:gd name="T28" fmla="*/ 2004 w 2984"/>
                  <a:gd name="T29" fmla="*/ 2893 h 2983"/>
                  <a:gd name="T30" fmla="*/ 2324 w 2984"/>
                  <a:gd name="T31" fmla="*/ 2727 h 2983"/>
                  <a:gd name="T32" fmla="*/ 2596 w 2984"/>
                  <a:gd name="T33" fmla="*/ 2493 h 2983"/>
                  <a:gd name="T34" fmla="*/ 2802 w 2984"/>
                  <a:gd name="T35" fmla="*/ 2201 h 2983"/>
                  <a:gd name="T36" fmla="*/ 2936 w 2984"/>
                  <a:gd name="T37" fmla="*/ 1863 h 2983"/>
                  <a:gd name="T38" fmla="*/ 2984 w 2984"/>
                  <a:gd name="T39" fmla="*/ 1492 h 2983"/>
                  <a:gd name="T40" fmla="*/ 2952 w 2984"/>
                  <a:gd name="T41" fmla="*/ 1192 h 2983"/>
                  <a:gd name="T42" fmla="*/ 2836 w 2984"/>
                  <a:gd name="T43" fmla="*/ 846 h 2983"/>
                  <a:gd name="T44" fmla="*/ 2642 w 2984"/>
                  <a:gd name="T45" fmla="*/ 544 h 2983"/>
                  <a:gd name="T46" fmla="*/ 2384 w 2984"/>
                  <a:gd name="T47" fmla="*/ 296 h 2983"/>
                  <a:gd name="T48" fmla="*/ 2072 w 2984"/>
                  <a:gd name="T49" fmla="*/ 118 h 2983"/>
                  <a:gd name="T50" fmla="*/ 1718 w 2984"/>
                  <a:gd name="T51" fmla="*/ 16 h 2983"/>
                  <a:gd name="T52" fmla="*/ 2688 w 2984"/>
                  <a:gd name="T53" fmla="*/ 1348 h 2983"/>
                  <a:gd name="T54" fmla="*/ 1736 w 2984"/>
                  <a:gd name="T55" fmla="*/ 312 h 2983"/>
                  <a:gd name="T56" fmla="*/ 1976 w 2984"/>
                  <a:gd name="T57" fmla="*/ 388 h 2983"/>
                  <a:gd name="T58" fmla="*/ 2192 w 2984"/>
                  <a:gd name="T59" fmla="*/ 512 h 2983"/>
                  <a:gd name="T60" fmla="*/ 2378 w 2984"/>
                  <a:gd name="T61" fmla="*/ 676 h 2983"/>
                  <a:gd name="T62" fmla="*/ 2526 w 2984"/>
                  <a:gd name="T63" fmla="*/ 874 h 2983"/>
                  <a:gd name="T64" fmla="*/ 2632 w 2984"/>
                  <a:gd name="T65" fmla="*/ 1100 h 2983"/>
                  <a:gd name="T66" fmla="*/ 2688 w 2984"/>
                  <a:gd name="T67" fmla="*/ 1348 h 2983"/>
                  <a:gd name="T68" fmla="*/ 294 w 2984"/>
                  <a:gd name="T69" fmla="*/ 1348 h 2983"/>
                  <a:gd name="T70" fmla="*/ 350 w 2984"/>
                  <a:gd name="T71" fmla="*/ 1100 h 2983"/>
                  <a:gd name="T72" fmla="*/ 456 w 2984"/>
                  <a:gd name="T73" fmla="*/ 874 h 2983"/>
                  <a:gd name="T74" fmla="*/ 604 w 2984"/>
                  <a:gd name="T75" fmla="*/ 676 h 2983"/>
                  <a:gd name="T76" fmla="*/ 790 w 2984"/>
                  <a:gd name="T77" fmla="*/ 512 h 2983"/>
                  <a:gd name="T78" fmla="*/ 1006 w 2984"/>
                  <a:gd name="T79" fmla="*/ 388 h 2983"/>
                  <a:gd name="T80" fmla="*/ 1246 w 2984"/>
                  <a:gd name="T81" fmla="*/ 312 h 2983"/>
                  <a:gd name="T82" fmla="*/ 1348 w 2984"/>
                  <a:gd name="T83" fmla="*/ 1633 h 2983"/>
                  <a:gd name="T84" fmla="*/ 1196 w 2984"/>
                  <a:gd name="T85" fmla="*/ 2661 h 2983"/>
                  <a:gd name="T86" fmla="*/ 960 w 2984"/>
                  <a:gd name="T87" fmla="*/ 2573 h 2983"/>
                  <a:gd name="T88" fmla="*/ 750 w 2984"/>
                  <a:gd name="T89" fmla="*/ 2441 h 2983"/>
                  <a:gd name="T90" fmla="*/ 572 w 2984"/>
                  <a:gd name="T91" fmla="*/ 2271 h 2983"/>
                  <a:gd name="T92" fmla="*/ 432 w 2984"/>
                  <a:gd name="T93" fmla="*/ 2065 h 2983"/>
                  <a:gd name="T94" fmla="*/ 336 w 2984"/>
                  <a:gd name="T95" fmla="*/ 1835 h 2983"/>
                  <a:gd name="T96" fmla="*/ 294 w 2984"/>
                  <a:gd name="T97" fmla="*/ 1633 h 2983"/>
                  <a:gd name="T98" fmla="*/ 2682 w 2984"/>
                  <a:gd name="T99" fmla="*/ 1685 h 2983"/>
                  <a:gd name="T100" fmla="*/ 2614 w 2984"/>
                  <a:gd name="T101" fmla="*/ 1929 h 2983"/>
                  <a:gd name="T102" fmla="*/ 2500 w 2984"/>
                  <a:gd name="T103" fmla="*/ 2151 h 2983"/>
                  <a:gd name="T104" fmla="*/ 2344 w 2984"/>
                  <a:gd name="T105" fmla="*/ 2343 h 2983"/>
                  <a:gd name="T106" fmla="*/ 2152 w 2984"/>
                  <a:gd name="T107" fmla="*/ 2499 h 2983"/>
                  <a:gd name="T108" fmla="*/ 1930 w 2984"/>
                  <a:gd name="T109" fmla="*/ 2613 h 2983"/>
                  <a:gd name="T110" fmla="*/ 1686 w 2984"/>
                  <a:gd name="T111" fmla="*/ 2681 h 2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984" h="2983">
                    <a:moveTo>
                      <a:pt x="1492" y="0"/>
                    </a:moveTo>
                    <a:lnTo>
                      <a:pt x="1492" y="0"/>
                    </a:lnTo>
                    <a:lnTo>
                      <a:pt x="1414" y="2"/>
                    </a:lnTo>
                    <a:lnTo>
                      <a:pt x="1338" y="8"/>
                    </a:lnTo>
                    <a:lnTo>
                      <a:pt x="1264" y="16"/>
                    </a:lnTo>
                    <a:lnTo>
                      <a:pt x="1190" y="30"/>
                    </a:lnTo>
                    <a:lnTo>
                      <a:pt x="1118" y="46"/>
                    </a:lnTo>
                    <a:lnTo>
                      <a:pt x="1048" y="66"/>
                    </a:lnTo>
                    <a:lnTo>
                      <a:pt x="978" y="90"/>
                    </a:lnTo>
                    <a:lnTo>
                      <a:pt x="910" y="118"/>
                    </a:lnTo>
                    <a:lnTo>
                      <a:pt x="844" y="148"/>
                    </a:lnTo>
                    <a:lnTo>
                      <a:pt x="780" y="180"/>
                    </a:lnTo>
                    <a:lnTo>
                      <a:pt x="718" y="216"/>
                    </a:lnTo>
                    <a:lnTo>
                      <a:pt x="658" y="254"/>
                    </a:lnTo>
                    <a:lnTo>
                      <a:pt x="600" y="296"/>
                    </a:lnTo>
                    <a:lnTo>
                      <a:pt x="542" y="340"/>
                    </a:lnTo>
                    <a:lnTo>
                      <a:pt x="488" y="388"/>
                    </a:lnTo>
                    <a:lnTo>
                      <a:pt x="436" y="438"/>
                    </a:lnTo>
                    <a:lnTo>
                      <a:pt x="388" y="490"/>
                    </a:lnTo>
                    <a:lnTo>
                      <a:pt x="340" y="544"/>
                    </a:lnTo>
                    <a:lnTo>
                      <a:pt x="296" y="600"/>
                    </a:lnTo>
                    <a:lnTo>
                      <a:pt x="254" y="658"/>
                    </a:lnTo>
                    <a:lnTo>
                      <a:pt x="216" y="718"/>
                    </a:lnTo>
                    <a:lnTo>
                      <a:pt x="180" y="782"/>
                    </a:lnTo>
                    <a:lnTo>
                      <a:pt x="146" y="846"/>
                    </a:lnTo>
                    <a:lnTo>
                      <a:pt x="116" y="912"/>
                    </a:lnTo>
                    <a:lnTo>
                      <a:pt x="90" y="980"/>
                    </a:lnTo>
                    <a:lnTo>
                      <a:pt x="66" y="1048"/>
                    </a:lnTo>
                    <a:lnTo>
                      <a:pt x="46" y="1120"/>
                    </a:lnTo>
                    <a:lnTo>
                      <a:pt x="30" y="1192"/>
                    </a:lnTo>
                    <a:lnTo>
                      <a:pt x="16" y="1264"/>
                    </a:lnTo>
                    <a:lnTo>
                      <a:pt x="6" y="1340"/>
                    </a:lnTo>
                    <a:lnTo>
                      <a:pt x="2" y="1416"/>
                    </a:lnTo>
                    <a:lnTo>
                      <a:pt x="0" y="1492"/>
                    </a:lnTo>
                    <a:lnTo>
                      <a:pt x="0" y="1492"/>
                    </a:lnTo>
                    <a:lnTo>
                      <a:pt x="2" y="1567"/>
                    </a:lnTo>
                    <a:lnTo>
                      <a:pt x="6" y="1643"/>
                    </a:lnTo>
                    <a:lnTo>
                      <a:pt x="16" y="1717"/>
                    </a:lnTo>
                    <a:lnTo>
                      <a:pt x="30" y="1791"/>
                    </a:lnTo>
                    <a:lnTo>
                      <a:pt x="46" y="1863"/>
                    </a:lnTo>
                    <a:lnTo>
                      <a:pt x="66" y="1933"/>
                    </a:lnTo>
                    <a:lnTo>
                      <a:pt x="90" y="2003"/>
                    </a:lnTo>
                    <a:lnTo>
                      <a:pt x="116" y="2071"/>
                    </a:lnTo>
                    <a:lnTo>
                      <a:pt x="146" y="2137"/>
                    </a:lnTo>
                    <a:lnTo>
                      <a:pt x="180" y="2201"/>
                    </a:lnTo>
                    <a:lnTo>
                      <a:pt x="216" y="2263"/>
                    </a:lnTo>
                    <a:lnTo>
                      <a:pt x="254" y="2325"/>
                    </a:lnTo>
                    <a:lnTo>
                      <a:pt x="296" y="2383"/>
                    </a:lnTo>
                    <a:lnTo>
                      <a:pt x="340" y="2439"/>
                    </a:lnTo>
                    <a:lnTo>
                      <a:pt x="388" y="2493"/>
                    </a:lnTo>
                    <a:lnTo>
                      <a:pt x="436" y="2545"/>
                    </a:lnTo>
                    <a:lnTo>
                      <a:pt x="488" y="2595"/>
                    </a:lnTo>
                    <a:lnTo>
                      <a:pt x="542" y="2641"/>
                    </a:lnTo>
                    <a:lnTo>
                      <a:pt x="600" y="2687"/>
                    </a:lnTo>
                    <a:lnTo>
                      <a:pt x="658" y="2727"/>
                    </a:lnTo>
                    <a:lnTo>
                      <a:pt x="718" y="2767"/>
                    </a:lnTo>
                    <a:lnTo>
                      <a:pt x="780" y="2803"/>
                    </a:lnTo>
                    <a:lnTo>
                      <a:pt x="844" y="2835"/>
                    </a:lnTo>
                    <a:lnTo>
                      <a:pt x="910" y="2865"/>
                    </a:lnTo>
                    <a:lnTo>
                      <a:pt x="978" y="2893"/>
                    </a:lnTo>
                    <a:lnTo>
                      <a:pt x="1048" y="2915"/>
                    </a:lnTo>
                    <a:lnTo>
                      <a:pt x="1118" y="2935"/>
                    </a:lnTo>
                    <a:lnTo>
                      <a:pt x="1190" y="2953"/>
                    </a:lnTo>
                    <a:lnTo>
                      <a:pt x="1264" y="2965"/>
                    </a:lnTo>
                    <a:lnTo>
                      <a:pt x="1338" y="2975"/>
                    </a:lnTo>
                    <a:lnTo>
                      <a:pt x="1414" y="2981"/>
                    </a:lnTo>
                    <a:lnTo>
                      <a:pt x="1492" y="2983"/>
                    </a:lnTo>
                    <a:lnTo>
                      <a:pt x="1492" y="2983"/>
                    </a:lnTo>
                    <a:lnTo>
                      <a:pt x="1568" y="2981"/>
                    </a:lnTo>
                    <a:lnTo>
                      <a:pt x="1644" y="2975"/>
                    </a:lnTo>
                    <a:lnTo>
                      <a:pt x="1718" y="2965"/>
                    </a:lnTo>
                    <a:lnTo>
                      <a:pt x="1792" y="2953"/>
                    </a:lnTo>
                    <a:lnTo>
                      <a:pt x="1864" y="2935"/>
                    </a:lnTo>
                    <a:lnTo>
                      <a:pt x="1934" y="2915"/>
                    </a:lnTo>
                    <a:lnTo>
                      <a:pt x="2004" y="2893"/>
                    </a:lnTo>
                    <a:lnTo>
                      <a:pt x="2072" y="2865"/>
                    </a:lnTo>
                    <a:lnTo>
                      <a:pt x="2138" y="2835"/>
                    </a:lnTo>
                    <a:lnTo>
                      <a:pt x="2202" y="2803"/>
                    </a:lnTo>
                    <a:lnTo>
                      <a:pt x="2264" y="2767"/>
                    </a:lnTo>
                    <a:lnTo>
                      <a:pt x="2324" y="2727"/>
                    </a:lnTo>
                    <a:lnTo>
                      <a:pt x="2384" y="2687"/>
                    </a:lnTo>
                    <a:lnTo>
                      <a:pt x="2440" y="2641"/>
                    </a:lnTo>
                    <a:lnTo>
                      <a:pt x="2494" y="2595"/>
                    </a:lnTo>
                    <a:lnTo>
                      <a:pt x="2546" y="2545"/>
                    </a:lnTo>
                    <a:lnTo>
                      <a:pt x="2596" y="2493"/>
                    </a:lnTo>
                    <a:lnTo>
                      <a:pt x="2642" y="2439"/>
                    </a:lnTo>
                    <a:lnTo>
                      <a:pt x="2686" y="2383"/>
                    </a:lnTo>
                    <a:lnTo>
                      <a:pt x="2728" y="2325"/>
                    </a:lnTo>
                    <a:lnTo>
                      <a:pt x="2766" y="2263"/>
                    </a:lnTo>
                    <a:lnTo>
                      <a:pt x="2802" y="2201"/>
                    </a:lnTo>
                    <a:lnTo>
                      <a:pt x="2836" y="2137"/>
                    </a:lnTo>
                    <a:lnTo>
                      <a:pt x="2866" y="2071"/>
                    </a:lnTo>
                    <a:lnTo>
                      <a:pt x="2892" y="2003"/>
                    </a:lnTo>
                    <a:lnTo>
                      <a:pt x="2916" y="1933"/>
                    </a:lnTo>
                    <a:lnTo>
                      <a:pt x="2936" y="1863"/>
                    </a:lnTo>
                    <a:lnTo>
                      <a:pt x="2952" y="1791"/>
                    </a:lnTo>
                    <a:lnTo>
                      <a:pt x="2966" y="1717"/>
                    </a:lnTo>
                    <a:lnTo>
                      <a:pt x="2976" y="1643"/>
                    </a:lnTo>
                    <a:lnTo>
                      <a:pt x="2982" y="1567"/>
                    </a:lnTo>
                    <a:lnTo>
                      <a:pt x="2984" y="1492"/>
                    </a:lnTo>
                    <a:lnTo>
                      <a:pt x="2984" y="1492"/>
                    </a:lnTo>
                    <a:lnTo>
                      <a:pt x="2982" y="1416"/>
                    </a:lnTo>
                    <a:lnTo>
                      <a:pt x="2976" y="1340"/>
                    </a:lnTo>
                    <a:lnTo>
                      <a:pt x="2966" y="1264"/>
                    </a:lnTo>
                    <a:lnTo>
                      <a:pt x="2952" y="1192"/>
                    </a:lnTo>
                    <a:lnTo>
                      <a:pt x="2936" y="1120"/>
                    </a:lnTo>
                    <a:lnTo>
                      <a:pt x="2916" y="1048"/>
                    </a:lnTo>
                    <a:lnTo>
                      <a:pt x="2892" y="980"/>
                    </a:lnTo>
                    <a:lnTo>
                      <a:pt x="2866" y="912"/>
                    </a:lnTo>
                    <a:lnTo>
                      <a:pt x="2836" y="846"/>
                    </a:lnTo>
                    <a:lnTo>
                      <a:pt x="2802" y="782"/>
                    </a:lnTo>
                    <a:lnTo>
                      <a:pt x="2766" y="718"/>
                    </a:lnTo>
                    <a:lnTo>
                      <a:pt x="2728" y="658"/>
                    </a:lnTo>
                    <a:lnTo>
                      <a:pt x="2686" y="600"/>
                    </a:lnTo>
                    <a:lnTo>
                      <a:pt x="2642" y="544"/>
                    </a:lnTo>
                    <a:lnTo>
                      <a:pt x="2596" y="490"/>
                    </a:lnTo>
                    <a:lnTo>
                      <a:pt x="2546" y="438"/>
                    </a:lnTo>
                    <a:lnTo>
                      <a:pt x="2494" y="388"/>
                    </a:lnTo>
                    <a:lnTo>
                      <a:pt x="2440" y="340"/>
                    </a:lnTo>
                    <a:lnTo>
                      <a:pt x="2384" y="296"/>
                    </a:lnTo>
                    <a:lnTo>
                      <a:pt x="2324" y="254"/>
                    </a:lnTo>
                    <a:lnTo>
                      <a:pt x="2264" y="216"/>
                    </a:lnTo>
                    <a:lnTo>
                      <a:pt x="2202" y="180"/>
                    </a:lnTo>
                    <a:lnTo>
                      <a:pt x="2138" y="148"/>
                    </a:lnTo>
                    <a:lnTo>
                      <a:pt x="2072" y="118"/>
                    </a:lnTo>
                    <a:lnTo>
                      <a:pt x="2004" y="90"/>
                    </a:lnTo>
                    <a:lnTo>
                      <a:pt x="1934" y="66"/>
                    </a:lnTo>
                    <a:lnTo>
                      <a:pt x="1864" y="46"/>
                    </a:lnTo>
                    <a:lnTo>
                      <a:pt x="1792" y="30"/>
                    </a:lnTo>
                    <a:lnTo>
                      <a:pt x="1718" y="16"/>
                    </a:lnTo>
                    <a:lnTo>
                      <a:pt x="1644" y="8"/>
                    </a:lnTo>
                    <a:lnTo>
                      <a:pt x="1568" y="2"/>
                    </a:lnTo>
                    <a:lnTo>
                      <a:pt x="1492" y="0"/>
                    </a:lnTo>
                    <a:lnTo>
                      <a:pt x="1492" y="0"/>
                    </a:lnTo>
                    <a:close/>
                    <a:moveTo>
                      <a:pt x="2688" y="1348"/>
                    </a:moveTo>
                    <a:lnTo>
                      <a:pt x="1634" y="1348"/>
                    </a:lnTo>
                    <a:lnTo>
                      <a:pt x="1634" y="294"/>
                    </a:lnTo>
                    <a:lnTo>
                      <a:pt x="1634" y="294"/>
                    </a:lnTo>
                    <a:lnTo>
                      <a:pt x="1686" y="302"/>
                    </a:lnTo>
                    <a:lnTo>
                      <a:pt x="1736" y="312"/>
                    </a:lnTo>
                    <a:lnTo>
                      <a:pt x="1786" y="322"/>
                    </a:lnTo>
                    <a:lnTo>
                      <a:pt x="1834" y="336"/>
                    </a:lnTo>
                    <a:lnTo>
                      <a:pt x="1884" y="352"/>
                    </a:lnTo>
                    <a:lnTo>
                      <a:pt x="1930" y="368"/>
                    </a:lnTo>
                    <a:lnTo>
                      <a:pt x="1976" y="388"/>
                    </a:lnTo>
                    <a:lnTo>
                      <a:pt x="2022" y="410"/>
                    </a:lnTo>
                    <a:lnTo>
                      <a:pt x="2066" y="432"/>
                    </a:lnTo>
                    <a:lnTo>
                      <a:pt x="2110" y="456"/>
                    </a:lnTo>
                    <a:lnTo>
                      <a:pt x="2152" y="484"/>
                    </a:lnTo>
                    <a:lnTo>
                      <a:pt x="2192" y="512"/>
                    </a:lnTo>
                    <a:lnTo>
                      <a:pt x="2232" y="542"/>
                    </a:lnTo>
                    <a:lnTo>
                      <a:pt x="2270" y="572"/>
                    </a:lnTo>
                    <a:lnTo>
                      <a:pt x="2308" y="606"/>
                    </a:lnTo>
                    <a:lnTo>
                      <a:pt x="2344" y="640"/>
                    </a:lnTo>
                    <a:lnTo>
                      <a:pt x="2378" y="676"/>
                    </a:lnTo>
                    <a:lnTo>
                      <a:pt x="2410" y="712"/>
                    </a:lnTo>
                    <a:lnTo>
                      <a:pt x="2442" y="750"/>
                    </a:lnTo>
                    <a:lnTo>
                      <a:pt x="2472" y="790"/>
                    </a:lnTo>
                    <a:lnTo>
                      <a:pt x="2500" y="832"/>
                    </a:lnTo>
                    <a:lnTo>
                      <a:pt x="2526" y="874"/>
                    </a:lnTo>
                    <a:lnTo>
                      <a:pt x="2550" y="916"/>
                    </a:lnTo>
                    <a:lnTo>
                      <a:pt x="2574" y="960"/>
                    </a:lnTo>
                    <a:lnTo>
                      <a:pt x="2594" y="1006"/>
                    </a:lnTo>
                    <a:lnTo>
                      <a:pt x="2614" y="1052"/>
                    </a:lnTo>
                    <a:lnTo>
                      <a:pt x="2632" y="1100"/>
                    </a:lnTo>
                    <a:lnTo>
                      <a:pt x="2648" y="1148"/>
                    </a:lnTo>
                    <a:lnTo>
                      <a:pt x="2660" y="1198"/>
                    </a:lnTo>
                    <a:lnTo>
                      <a:pt x="2672" y="1248"/>
                    </a:lnTo>
                    <a:lnTo>
                      <a:pt x="2682" y="1298"/>
                    </a:lnTo>
                    <a:lnTo>
                      <a:pt x="2688" y="1348"/>
                    </a:lnTo>
                    <a:lnTo>
                      <a:pt x="2688" y="1348"/>
                    </a:lnTo>
                    <a:close/>
                    <a:moveTo>
                      <a:pt x="1348" y="294"/>
                    </a:moveTo>
                    <a:lnTo>
                      <a:pt x="1348" y="1348"/>
                    </a:lnTo>
                    <a:lnTo>
                      <a:pt x="294" y="1348"/>
                    </a:lnTo>
                    <a:lnTo>
                      <a:pt x="294" y="1348"/>
                    </a:lnTo>
                    <a:lnTo>
                      <a:pt x="302" y="1298"/>
                    </a:lnTo>
                    <a:lnTo>
                      <a:pt x="310" y="1248"/>
                    </a:lnTo>
                    <a:lnTo>
                      <a:pt x="322" y="1198"/>
                    </a:lnTo>
                    <a:lnTo>
                      <a:pt x="336" y="1148"/>
                    </a:lnTo>
                    <a:lnTo>
                      <a:pt x="350" y="1100"/>
                    </a:lnTo>
                    <a:lnTo>
                      <a:pt x="368" y="1052"/>
                    </a:lnTo>
                    <a:lnTo>
                      <a:pt x="388" y="1006"/>
                    </a:lnTo>
                    <a:lnTo>
                      <a:pt x="408" y="960"/>
                    </a:lnTo>
                    <a:lnTo>
                      <a:pt x="432" y="916"/>
                    </a:lnTo>
                    <a:lnTo>
                      <a:pt x="456" y="874"/>
                    </a:lnTo>
                    <a:lnTo>
                      <a:pt x="482" y="832"/>
                    </a:lnTo>
                    <a:lnTo>
                      <a:pt x="510" y="790"/>
                    </a:lnTo>
                    <a:lnTo>
                      <a:pt x="540" y="750"/>
                    </a:lnTo>
                    <a:lnTo>
                      <a:pt x="572" y="712"/>
                    </a:lnTo>
                    <a:lnTo>
                      <a:pt x="604" y="676"/>
                    </a:lnTo>
                    <a:lnTo>
                      <a:pt x="638" y="640"/>
                    </a:lnTo>
                    <a:lnTo>
                      <a:pt x="674" y="606"/>
                    </a:lnTo>
                    <a:lnTo>
                      <a:pt x="712" y="572"/>
                    </a:lnTo>
                    <a:lnTo>
                      <a:pt x="750" y="542"/>
                    </a:lnTo>
                    <a:lnTo>
                      <a:pt x="790" y="512"/>
                    </a:lnTo>
                    <a:lnTo>
                      <a:pt x="830" y="484"/>
                    </a:lnTo>
                    <a:lnTo>
                      <a:pt x="872" y="456"/>
                    </a:lnTo>
                    <a:lnTo>
                      <a:pt x="916" y="432"/>
                    </a:lnTo>
                    <a:lnTo>
                      <a:pt x="960" y="410"/>
                    </a:lnTo>
                    <a:lnTo>
                      <a:pt x="1006" y="388"/>
                    </a:lnTo>
                    <a:lnTo>
                      <a:pt x="1052" y="368"/>
                    </a:lnTo>
                    <a:lnTo>
                      <a:pt x="1100" y="352"/>
                    </a:lnTo>
                    <a:lnTo>
                      <a:pt x="1148" y="336"/>
                    </a:lnTo>
                    <a:lnTo>
                      <a:pt x="1196" y="322"/>
                    </a:lnTo>
                    <a:lnTo>
                      <a:pt x="1246" y="312"/>
                    </a:lnTo>
                    <a:lnTo>
                      <a:pt x="1298" y="302"/>
                    </a:lnTo>
                    <a:lnTo>
                      <a:pt x="1348" y="294"/>
                    </a:lnTo>
                    <a:lnTo>
                      <a:pt x="1348" y="294"/>
                    </a:lnTo>
                    <a:close/>
                    <a:moveTo>
                      <a:pt x="294" y="1633"/>
                    </a:moveTo>
                    <a:lnTo>
                      <a:pt x="1348" y="1633"/>
                    </a:lnTo>
                    <a:lnTo>
                      <a:pt x="1348" y="2689"/>
                    </a:lnTo>
                    <a:lnTo>
                      <a:pt x="1348" y="2689"/>
                    </a:lnTo>
                    <a:lnTo>
                      <a:pt x="1298" y="2681"/>
                    </a:lnTo>
                    <a:lnTo>
                      <a:pt x="1246" y="2671"/>
                    </a:lnTo>
                    <a:lnTo>
                      <a:pt x="1196" y="2661"/>
                    </a:lnTo>
                    <a:lnTo>
                      <a:pt x="1148" y="2647"/>
                    </a:lnTo>
                    <a:lnTo>
                      <a:pt x="1100" y="2631"/>
                    </a:lnTo>
                    <a:lnTo>
                      <a:pt x="1052" y="2613"/>
                    </a:lnTo>
                    <a:lnTo>
                      <a:pt x="1006" y="2595"/>
                    </a:lnTo>
                    <a:lnTo>
                      <a:pt x="960" y="2573"/>
                    </a:lnTo>
                    <a:lnTo>
                      <a:pt x="916" y="2551"/>
                    </a:lnTo>
                    <a:lnTo>
                      <a:pt x="872" y="2525"/>
                    </a:lnTo>
                    <a:lnTo>
                      <a:pt x="830" y="2499"/>
                    </a:lnTo>
                    <a:lnTo>
                      <a:pt x="790" y="2471"/>
                    </a:lnTo>
                    <a:lnTo>
                      <a:pt x="750" y="2441"/>
                    </a:lnTo>
                    <a:lnTo>
                      <a:pt x="712" y="2411"/>
                    </a:lnTo>
                    <a:lnTo>
                      <a:pt x="674" y="2377"/>
                    </a:lnTo>
                    <a:lnTo>
                      <a:pt x="638" y="2343"/>
                    </a:lnTo>
                    <a:lnTo>
                      <a:pt x="604" y="2307"/>
                    </a:lnTo>
                    <a:lnTo>
                      <a:pt x="572" y="2271"/>
                    </a:lnTo>
                    <a:lnTo>
                      <a:pt x="540" y="2231"/>
                    </a:lnTo>
                    <a:lnTo>
                      <a:pt x="510" y="2193"/>
                    </a:lnTo>
                    <a:lnTo>
                      <a:pt x="482" y="2151"/>
                    </a:lnTo>
                    <a:lnTo>
                      <a:pt x="456" y="2109"/>
                    </a:lnTo>
                    <a:lnTo>
                      <a:pt x="432" y="2065"/>
                    </a:lnTo>
                    <a:lnTo>
                      <a:pt x="408" y="2021"/>
                    </a:lnTo>
                    <a:lnTo>
                      <a:pt x="388" y="1977"/>
                    </a:lnTo>
                    <a:lnTo>
                      <a:pt x="368" y="1929"/>
                    </a:lnTo>
                    <a:lnTo>
                      <a:pt x="350" y="1883"/>
                    </a:lnTo>
                    <a:lnTo>
                      <a:pt x="336" y="1835"/>
                    </a:lnTo>
                    <a:lnTo>
                      <a:pt x="322" y="1785"/>
                    </a:lnTo>
                    <a:lnTo>
                      <a:pt x="310" y="1735"/>
                    </a:lnTo>
                    <a:lnTo>
                      <a:pt x="302" y="1685"/>
                    </a:lnTo>
                    <a:lnTo>
                      <a:pt x="294" y="1633"/>
                    </a:lnTo>
                    <a:lnTo>
                      <a:pt x="294" y="1633"/>
                    </a:lnTo>
                    <a:close/>
                    <a:moveTo>
                      <a:pt x="1634" y="2689"/>
                    </a:moveTo>
                    <a:lnTo>
                      <a:pt x="1634" y="1633"/>
                    </a:lnTo>
                    <a:lnTo>
                      <a:pt x="2688" y="1633"/>
                    </a:lnTo>
                    <a:lnTo>
                      <a:pt x="2688" y="1633"/>
                    </a:lnTo>
                    <a:lnTo>
                      <a:pt x="2682" y="1685"/>
                    </a:lnTo>
                    <a:lnTo>
                      <a:pt x="2672" y="1735"/>
                    </a:lnTo>
                    <a:lnTo>
                      <a:pt x="2660" y="1785"/>
                    </a:lnTo>
                    <a:lnTo>
                      <a:pt x="2648" y="1835"/>
                    </a:lnTo>
                    <a:lnTo>
                      <a:pt x="2632" y="1883"/>
                    </a:lnTo>
                    <a:lnTo>
                      <a:pt x="2614" y="1929"/>
                    </a:lnTo>
                    <a:lnTo>
                      <a:pt x="2594" y="1977"/>
                    </a:lnTo>
                    <a:lnTo>
                      <a:pt x="2574" y="2021"/>
                    </a:lnTo>
                    <a:lnTo>
                      <a:pt x="2550" y="2065"/>
                    </a:lnTo>
                    <a:lnTo>
                      <a:pt x="2526" y="2109"/>
                    </a:lnTo>
                    <a:lnTo>
                      <a:pt x="2500" y="2151"/>
                    </a:lnTo>
                    <a:lnTo>
                      <a:pt x="2472" y="2193"/>
                    </a:lnTo>
                    <a:lnTo>
                      <a:pt x="2442" y="2231"/>
                    </a:lnTo>
                    <a:lnTo>
                      <a:pt x="2410" y="2271"/>
                    </a:lnTo>
                    <a:lnTo>
                      <a:pt x="2378" y="2307"/>
                    </a:lnTo>
                    <a:lnTo>
                      <a:pt x="2344" y="2343"/>
                    </a:lnTo>
                    <a:lnTo>
                      <a:pt x="2308" y="2377"/>
                    </a:lnTo>
                    <a:lnTo>
                      <a:pt x="2270" y="2411"/>
                    </a:lnTo>
                    <a:lnTo>
                      <a:pt x="2232" y="2441"/>
                    </a:lnTo>
                    <a:lnTo>
                      <a:pt x="2192" y="2471"/>
                    </a:lnTo>
                    <a:lnTo>
                      <a:pt x="2152" y="2499"/>
                    </a:lnTo>
                    <a:lnTo>
                      <a:pt x="2110" y="2525"/>
                    </a:lnTo>
                    <a:lnTo>
                      <a:pt x="2066" y="2551"/>
                    </a:lnTo>
                    <a:lnTo>
                      <a:pt x="2022" y="2573"/>
                    </a:lnTo>
                    <a:lnTo>
                      <a:pt x="1976" y="2595"/>
                    </a:lnTo>
                    <a:lnTo>
                      <a:pt x="1930" y="2613"/>
                    </a:lnTo>
                    <a:lnTo>
                      <a:pt x="1884" y="2631"/>
                    </a:lnTo>
                    <a:lnTo>
                      <a:pt x="1834" y="2647"/>
                    </a:lnTo>
                    <a:lnTo>
                      <a:pt x="1786" y="2661"/>
                    </a:lnTo>
                    <a:lnTo>
                      <a:pt x="1736" y="2671"/>
                    </a:lnTo>
                    <a:lnTo>
                      <a:pt x="1686" y="2681"/>
                    </a:lnTo>
                    <a:lnTo>
                      <a:pt x="1634" y="2689"/>
                    </a:lnTo>
                    <a:lnTo>
                      <a:pt x="1634" y="26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</p:grpSp>
        <p:grpSp>
          <p:nvGrpSpPr>
            <p:cNvPr id="225" name="Group 76">
              <a:extLst>
                <a:ext uri="{FF2B5EF4-FFF2-40B4-BE49-F238E27FC236}">
                  <a16:creationId xmlns:a16="http://schemas.microsoft.com/office/drawing/2014/main" id="{1813EDA3-D866-4A2C-B12A-51D417294B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7481" y="4042947"/>
              <a:ext cx="430047" cy="429982"/>
              <a:chOff x="986" y="0"/>
              <a:chExt cx="6673" cy="6672"/>
            </a:xfrm>
            <a:solidFill>
              <a:schemeClr val="bg1"/>
            </a:solidFill>
          </p:grpSpPr>
          <p:sp>
            <p:nvSpPr>
              <p:cNvPr id="234" name="Freeform 77">
                <a:extLst>
                  <a:ext uri="{FF2B5EF4-FFF2-40B4-BE49-F238E27FC236}">
                    <a16:creationId xmlns:a16="http://schemas.microsoft.com/office/drawing/2014/main" id="{70E33C50-2178-461C-97A6-3A4D8F9020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6" y="0"/>
                <a:ext cx="6673" cy="6672"/>
              </a:xfrm>
              <a:custGeom>
                <a:avLst/>
                <a:gdLst>
                  <a:gd name="T0" fmla="*/ 0 w 6673"/>
                  <a:gd name="T1" fmla="*/ 0 h 6672"/>
                  <a:gd name="T2" fmla="*/ 0 w 6673"/>
                  <a:gd name="T3" fmla="*/ 6672 h 6672"/>
                  <a:gd name="T4" fmla="*/ 6673 w 6673"/>
                  <a:gd name="T5" fmla="*/ 6672 h 6672"/>
                  <a:gd name="T6" fmla="*/ 6673 w 6673"/>
                  <a:gd name="T7" fmla="*/ 0 h 6672"/>
                  <a:gd name="T8" fmla="*/ 0 w 6673"/>
                  <a:gd name="T9" fmla="*/ 0 h 6672"/>
                  <a:gd name="T10" fmla="*/ 6389 w 6673"/>
                  <a:gd name="T11" fmla="*/ 6386 h 6672"/>
                  <a:gd name="T12" fmla="*/ 284 w 6673"/>
                  <a:gd name="T13" fmla="*/ 6386 h 6672"/>
                  <a:gd name="T14" fmla="*/ 284 w 6673"/>
                  <a:gd name="T15" fmla="*/ 286 h 6672"/>
                  <a:gd name="T16" fmla="*/ 6389 w 6673"/>
                  <a:gd name="T17" fmla="*/ 286 h 6672"/>
                  <a:gd name="T18" fmla="*/ 6389 w 6673"/>
                  <a:gd name="T19" fmla="*/ 6386 h 6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73" h="6672">
                    <a:moveTo>
                      <a:pt x="0" y="0"/>
                    </a:moveTo>
                    <a:lnTo>
                      <a:pt x="0" y="6672"/>
                    </a:lnTo>
                    <a:lnTo>
                      <a:pt x="6673" y="6672"/>
                    </a:lnTo>
                    <a:lnTo>
                      <a:pt x="6673" y="0"/>
                    </a:lnTo>
                    <a:lnTo>
                      <a:pt x="0" y="0"/>
                    </a:lnTo>
                    <a:close/>
                    <a:moveTo>
                      <a:pt x="6389" y="6386"/>
                    </a:moveTo>
                    <a:lnTo>
                      <a:pt x="284" y="6386"/>
                    </a:lnTo>
                    <a:lnTo>
                      <a:pt x="284" y="286"/>
                    </a:lnTo>
                    <a:lnTo>
                      <a:pt x="6389" y="286"/>
                    </a:lnTo>
                    <a:lnTo>
                      <a:pt x="6389" y="63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35" name="Freeform 78">
                <a:extLst>
                  <a:ext uri="{FF2B5EF4-FFF2-40B4-BE49-F238E27FC236}">
                    <a16:creationId xmlns:a16="http://schemas.microsoft.com/office/drawing/2014/main" id="{588D4CB1-25C3-4265-9D24-CD24E26F68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00" y="674"/>
                <a:ext cx="5287" cy="5284"/>
              </a:xfrm>
              <a:custGeom>
                <a:avLst/>
                <a:gdLst>
                  <a:gd name="T0" fmla="*/ 2148 w 5287"/>
                  <a:gd name="T1" fmla="*/ 3859 h 5284"/>
                  <a:gd name="T2" fmla="*/ 2745 w 5287"/>
                  <a:gd name="T3" fmla="*/ 4099 h 5284"/>
                  <a:gd name="T4" fmla="*/ 3263 w 5287"/>
                  <a:gd name="T5" fmla="*/ 4151 h 5284"/>
                  <a:gd name="T6" fmla="*/ 3619 w 5287"/>
                  <a:gd name="T7" fmla="*/ 4111 h 5284"/>
                  <a:gd name="T8" fmla="*/ 3959 w 5287"/>
                  <a:gd name="T9" fmla="*/ 4013 h 5284"/>
                  <a:gd name="T10" fmla="*/ 4277 w 5287"/>
                  <a:gd name="T11" fmla="*/ 3859 h 5284"/>
                  <a:gd name="T12" fmla="*/ 4565 w 5287"/>
                  <a:gd name="T13" fmla="*/ 3649 h 5284"/>
                  <a:gd name="T14" fmla="*/ 4787 w 5287"/>
                  <a:gd name="T15" fmla="*/ 3427 h 5284"/>
                  <a:gd name="T16" fmla="*/ 4999 w 5287"/>
                  <a:gd name="T17" fmla="*/ 3131 h 5284"/>
                  <a:gd name="T18" fmla="*/ 5153 w 5287"/>
                  <a:gd name="T19" fmla="*/ 2809 h 5284"/>
                  <a:gd name="T20" fmla="*/ 5249 w 5287"/>
                  <a:gd name="T21" fmla="*/ 2471 h 5284"/>
                  <a:gd name="T22" fmla="*/ 5265 w 5287"/>
                  <a:gd name="T23" fmla="*/ 1777 h 5284"/>
                  <a:gd name="T24" fmla="*/ 5169 w 5287"/>
                  <a:gd name="T25" fmla="*/ 1387 h 5284"/>
                  <a:gd name="T26" fmla="*/ 5025 w 5287"/>
                  <a:gd name="T27" fmla="*/ 1063 h 5284"/>
                  <a:gd name="T28" fmla="*/ 4821 w 5287"/>
                  <a:gd name="T29" fmla="*/ 766 h 5284"/>
                  <a:gd name="T30" fmla="*/ 4603 w 5287"/>
                  <a:gd name="T31" fmla="*/ 536 h 5284"/>
                  <a:gd name="T32" fmla="*/ 4319 w 5287"/>
                  <a:gd name="T33" fmla="*/ 320 h 5284"/>
                  <a:gd name="T34" fmla="*/ 4005 w 5287"/>
                  <a:gd name="T35" fmla="*/ 156 h 5284"/>
                  <a:gd name="T36" fmla="*/ 3669 w 5287"/>
                  <a:gd name="T37" fmla="*/ 50 h 5284"/>
                  <a:gd name="T38" fmla="*/ 3315 w 5287"/>
                  <a:gd name="T39" fmla="*/ 2 h 5284"/>
                  <a:gd name="T40" fmla="*/ 3005 w 5287"/>
                  <a:gd name="T41" fmla="*/ 10 h 5284"/>
                  <a:gd name="T42" fmla="*/ 2655 w 5287"/>
                  <a:gd name="T43" fmla="*/ 74 h 5284"/>
                  <a:gd name="T44" fmla="*/ 2322 w 5287"/>
                  <a:gd name="T45" fmla="*/ 198 h 5284"/>
                  <a:gd name="T46" fmla="*/ 2016 w 5287"/>
                  <a:gd name="T47" fmla="*/ 376 h 5284"/>
                  <a:gd name="T48" fmla="*/ 1742 w 5287"/>
                  <a:gd name="T49" fmla="*/ 608 h 5284"/>
                  <a:gd name="T50" fmla="*/ 1542 w 5287"/>
                  <a:gd name="T51" fmla="*/ 838 h 5284"/>
                  <a:gd name="T52" fmla="*/ 1264 w 5287"/>
                  <a:gd name="T53" fmla="*/ 1351 h 5284"/>
                  <a:gd name="T54" fmla="*/ 1136 w 5287"/>
                  <a:gd name="T55" fmla="*/ 2009 h 5284"/>
                  <a:gd name="T56" fmla="*/ 1220 w 5287"/>
                  <a:gd name="T57" fmla="*/ 2669 h 5284"/>
                  <a:gd name="T58" fmla="*/ 1520 w 5287"/>
                  <a:gd name="T59" fmla="*/ 3281 h 5284"/>
                  <a:gd name="T60" fmla="*/ 4477 w 5287"/>
                  <a:gd name="T61" fmla="*/ 3343 h 5284"/>
                  <a:gd name="T62" fmla="*/ 4055 w 5287"/>
                  <a:gd name="T63" fmla="*/ 3657 h 5284"/>
                  <a:gd name="T64" fmla="*/ 3477 w 5287"/>
                  <a:gd name="T65" fmla="*/ 3847 h 5284"/>
                  <a:gd name="T66" fmla="*/ 2945 w 5287"/>
                  <a:gd name="T67" fmla="*/ 3847 h 5284"/>
                  <a:gd name="T68" fmla="*/ 2366 w 5287"/>
                  <a:gd name="T69" fmla="*/ 3657 h 5284"/>
                  <a:gd name="T70" fmla="*/ 1942 w 5287"/>
                  <a:gd name="T71" fmla="*/ 3343 h 5284"/>
                  <a:gd name="T72" fmla="*/ 1706 w 5287"/>
                  <a:gd name="T73" fmla="*/ 3051 h 5284"/>
                  <a:gd name="T74" fmla="*/ 4713 w 5287"/>
                  <a:gd name="T75" fmla="*/ 3051 h 5284"/>
                  <a:gd name="T76" fmla="*/ 4511 w 5287"/>
                  <a:gd name="T77" fmla="*/ 3307 h 5284"/>
                  <a:gd name="T78" fmla="*/ 3453 w 5287"/>
                  <a:gd name="T79" fmla="*/ 2765 h 5284"/>
                  <a:gd name="T80" fmla="*/ 4197 w 5287"/>
                  <a:gd name="T81" fmla="*/ 2765 h 5284"/>
                  <a:gd name="T82" fmla="*/ 1942 w 5287"/>
                  <a:gd name="T83" fmla="*/ 808 h 5284"/>
                  <a:gd name="T84" fmla="*/ 2444 w 5287"/>
                  <a:gd name="T85" fmla="*/ 454 h 5284"/>
                  <a:gd name="T86" fmla="*/ 3033 w 5287"/>
                  <a:gd name="T87" fmla="*/ 292 h 5284"/>
                  <a:gd name="T88" fmla="*/ 3563 w 5287"/>
                  <a:gd name="T89" fmla="*/ 318 h 5284"/>
                  <a:gd name="T90" fmla="*/ 4131 w 5287"/>
                  <a:gd name="T91" fmla="*/ 538 h 5284"/>
                  <a:gd name="T92" fmla="*/ 4527 w 5287"/>
                  <a:gd name="T93" fmla="*/ 860 h 5284"/>
                  <a:gd name="T94" fmla="*/ 4799 w 5287"/>
                  <a:gd name="T95" fmla="*/ 1245 h 5284"/>
                  <a:gd name="T96" fmla="*/ 4957 w 5287"/>
                  <a:gd name="T97" fmla="*/ 1677 h 5284"/>
                  <a:gd name="T98" fmla="*/ 5001 w 5287"/>
                  <a:gd name="T99" fmla="*/ 2129 h 5284"/>
                  <a:gd name="T100" fmla="*/ 4929 w 5287"/>
                  <a:gd name="T101" fmla="*/ 2579 h 5284"/>
                  <a:gd name="T102" fmla="*/ 3737 w 5287"/>
                  <a:gd name="T103" fmla="*/ 916 h 5284"/>
                  <a:gd name="T104" fmla="*/ 1532 w 5287"/>
                  <a:gd name="T105" fmla="*/ 2705 h 5284"/>
                  <a:gd name="T106" fmla="*/ 1428 w 5287"/>
                  <a:gd name="T107" fmla="*/ 2259 h 5284"/>
                  <a:gd name="T108" fmla="*/ 1440 w 5287"/>
                  <a:gd name="T109" fmla="*/ 1805 h 5284"/>
                  <a:gd name="T110" fmla="*/ 1564 w 5287"/>
                  <a:gd name="T111" fmla="*/ 1365 h 5284"/>
                  <a:gd name="T112" fmla="*/ 1804 w 5287"/>
                  <a:gd name="T113" fmla="*/ 964 h 5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87" h="5284">
                    <a:moveTo>
                      <a:pt x="202" y="5284"/>
                    </a:moveTo>
                    <a:lnTo>
                      <a:pt x="1846" y="3641"/>
                    </a:lnTo>
                    <a:lnTo>
                      <a:pt x="1846" y="3641"/>
                    </a:lnTo>
                    <a:lnTo>
                      <a:pt x="1918" y="3701"/>
                    </a:lnTo>
                    <a:lnTo>
                      <a:pt x="1992" y="3757"/>
                    </a:lnTo>
                    <a:lnTo>
                      <a:pt x="2068" y="3811"/>
                    </a:lnTo>
                    <a:lnTo>
                      <a:pt x="2148" y="3859"/>
                    </a:lnTo>
                    <a:lnTo>
                      <a:pt x="2228" y="3905"/>
                    </a:lnTo>
                    <a:lnTo>
                      <a:pt x="2310" y="3947"/>
                    </a:lnTo>
                    <a:lnTo>
                      <a:pt x="2394" y="3985"/>
                    </a:lnTo>
                    <a:lnTo>
                      <a:pt x="2480" y="4019"/>
                    </a:lnTo>
                    <a:lnTo>
                      <a:pt x="2566" y="4051"/>
                    </a:lnTo>
                    <a:lnTo>
                      <a:pt x="2657" y="4077"/>
                    </a:lnTo>
                    <a:lnTo>
                      <a:pt x="2745" y="4099"/>
                    </a:lnTo>
                    <a:lnTo>
                      <a:pt x="2837" y="4119"/>
                    </a:lnTo>
                    <a:lnTo>
                      <a:pt x="2929" y="4133"/>
                    </a:lnTo>
                    <a:lnTo>
                      <a:pt x="3021" y="4143"/>
                    </a:lnTo>
                    <a:lnTo>
                      <a:pt x="3115" y="4149"/>
                    </a:lnTo>
                    <a:lnTo>
                      <a:pt x="3211" y="4151"/>
                    </a:lnTo>
                    <a:lnTo>
                      <a:pt x="3211" y="4151"/>
                    </a:lnTo>
                    <a:lnTo>
                      <a:pt x="3263" y="4151"/>
                    </a:lnTo>
                    <a:lnTo>
                      <a:pt x="3315" y="4149"/>
                    </a:lnTo>
                    <a:lnTo>
                      <a:pt x="3365" y="4145"/>
                    </a:lnTo>
                    <a:lnTo>
                      <a:pt x="3417" y="4141"/>
                    </a:lnTo>
                    <a:lnTo>
                      <a:pt x="3467" y="4135"/>
                    </a:lnTo>
                    <a:lnTo>
                      <a:pt x="3519" y="4129"/>
                    </a:lnTo>
                    <a:lnTo>
                      <a:pt x="3569" y="4121"/>
                    </a:lnTo>
                    <a:lnTo>
                      <a:pt x="3619" y="4111"/>
                    </a:lnTo>
                    <a:lnTo>
                      <a:pt x="3669" y="4101"/>
                    </a:lnTo>
                    <a:lnTo>
                      <a:pt x="3717" y="4089"/>
                    </a:lnTo>
                    <a:lnTo>
                      <a:pt x="3767" y="4077"/>
                    </a:lnTo>
                    <a:lnTo>
                      <a:pt x="3815" y="4063"/>
                    </a:lnTo>
                    <a:lnTo>
                      <a:pt x="3863" y="4047"/>
                    </a:lnTo>
                    <a:lnTo>
                      <a:pt x="3911" y="4031"/>
                    </a:lnTo>
                    <a:lnTo>
                      <a:pt x="3959" y="4013"/>
                    </a:lnTo>
                    <a:lnTo>
                      <a:pt x="4005" y="3995"/>
                    </a:lnTo>
                    <a:lnTo>
                      <a:pt x="4053" y="3975"/>
                    </a:lnTo>
                    <a:lnTo>
                      <a:pt x="4099" y="3953"/>
                    </a:lnTo>
                    <a:lnTo>
                      <a:pt x="4143" y="3931"/>
                    </a:lnTo>
                    <a:lnTo>
                      <a:pt x="4189" y="3909"/>
                    </a:lnTo>
                    <a:lnTo>
                      <a:pt x="4233" y="3883"/>
                    </a:lnTo>
                    <a:lnTo>
                      <a:pt x="4277" y="3859"/>
                    </a:lnTo>
                    <a:lnTo>
                      <a:pt x="4319" y="3831"/>
                    </a:lnTo>
                    <a:lnTo>
                      <a:pt x="4363" y="3803"/>
                    </a:lnTo>
                    <a:lnTo>
                      <a:pt x="4405" y="3775"/>
                    </a:lnTo>
                    <a:lnTo>
                      <a:pt x="4445" y="3745"/>
                    </a:lnTo>
                    <a:lnTo>
                      <a:pt x="4487" y="3715"/>
                    </a:lnTo>
                    <a:lnTo>
                      <a:pt x="4527" y="3683"/>
                    </a:lnTo>
                    <a:lnTo>
                      <a:pt x="4565" y="3649"/>
                    </a:lnTo>
                    <a:lnTo>
                      <a:pt x="4603" y="3615"/>
                    </a:lnTo>
                    <a:lnTo>
                      <a:pt x="4641" y="3579"/>
                    </a:lnTo>
                    <a:lnTo>
                      <a:pt x="4679" y="3543"/>
                    </a:lnTo>
                    <a:lnTo>
                      <a:pt x="4679" y="3543"/>
                    </a:lnTo>
                    <a:lnTo>
                      <a:pt x="4717" y="3505"/>
                    </a:lnTo>
                    <a:lnTo>
                      <a:pt x="4753" y="3465"/>
                    </a:lnTo>
                    <a:lnTo>
                      <a:pt x="4787" y="3427"/>
                    </a:lnTo>
                    <a:lnTo>
                      <a:pt x="4821" y="3385"/>
                    </a:lnTo>
                    <a:lnTo>
                      <a:pt x="4853" y="3345"/>
                    </a:lnTo>
                    <a:lnTo>
                      <a:pt x="4885" y="3303"/>
                    </a:lnTo>
                    <a:lnTo>
                      <a:pt x="4915" y="3261"/>
                    </a:lnTo>
                    <a:lnTo>
                      <a:pt x="4945" y="3217"/>
                    </a:lnTo>
                    <a:lnTo>
                      <a:pt x="4973" y="3175"/>
                    </a:lnTo>
                    <a:lnTo>
                      <a:pt x="4999" y="3131"/>
                    </a:lnTo>
                    <a:lnTo>
                      <a:pt x="5025" y="3085"/>
                    </a:lnTo>
                    <a:lnTo>
                      <a:pt x="5049" y="3041"/>
                    </a:lnTo>
                    <a:lnTo>
                      <a:pt x="5073" y="2995"/>
                    </a:lnTo>
                    <a:lnTo>
                      <a:pt x="5095" y="2949"/>
                    </a:lnTo>
                    <a:lnTo>
                      <a:pt x="5115" y="2903"/>
                    </a:lnTo>
                    <a:lnTo>
                      <a:pt x="5135" y="2857"/>
                    </a:lnTo>
                    <a:lnTo>
                      <a:pt x="5153" y="2809"/>
                    </a:lnTo>
                    <a:lnTo>
                      <a:pt x="5169" y="2763"/>
                    </a:lnTo>
                    <a:lnTo>
                      <a:pt x="5185" y="2715"/>
                    </a:lnTo>
                    <a:lnTo>
                      <a:pt x="5201" y="2667"/>
                    </a:lnTo>
                    <a:lnTo>
                      <a:pt x="5215" y="2619"/>
                    </a:lnTo>
                    <a:lnTo>
                      <a:pt x="5227" y="2569"/>
                    </a:lnTo>
                    <a:lnTo>
                      <a:pt x="5239" y="2521"/>
                    </a:lnTo>
                    <a:lnTo>
                      <a:pt x="5249" y="2471"/>
                    </a:lnTo>
                    <a:lnTo>
                      <a:pt x="5265" y="2373"/>
                    </a:lnTo>
                    <a:lnTo>
                      <a:pt x="5277" y="2275"/>
                    </a:lnTo>
                    <a:lnTo>
                      <a:pt x="5283" y="2175"/>
                    </a:lnTo>
                    <a:lnTo>
                      <a:pt x="5287" y="2075"/>
                    </a:lnTo>
                    <a:lnTo>
                      <a:pt x="5283" y="1975"/>
                    </a:lnTo>
                    <a:lnTo>
                      <a:pt x="5277" y="1875"/>
                    </a:lnTo>
                    <a:lnTo>
                      <a:pt x="5265" y="1777"/>
                    </a:lnTo>
                    <a:lnTo>
                      <a:pt x="5249" y="1679"/>
                    </a:lnTo>
                    <a:lnTo>
                      <a:pt x="5239" y="1629"/>
                    </a:lnTo>
                    <a:lnTo>
                      <a:pt x="5227" y="1581"/>
                    </a:lnTo>
                    <a:lnTo>
                      <a:pt x="5215" y="1531"/>
                    </a:lnTo>
                    <a:lnTo>
                      <a:pt x="5201" y="1483"/>
                    </a:lnTo>
                    <a:lnTo>
                      <a:pt x="5185" y="1435"/>
                    </a:lnTo>
                    <a:lnTo>
                      <a:pt x="5169" y="1387"/>
                    </a:lnTo>
                    <a:lnTo>
                      <a:pt x="5153" y="1341"/>
                    </a:lnTo>
                    <a:lnTo>
                      <a:pt x="5135" y="1293"/>
                    </a:lnTo>
                    <a:lnTo>
                      <a:pt x="5115" y="1247"/>
                    </a:lnTo>
                    <a:lnTo>
                      <a:pt x="5095" y="1201"/>
                    </a:lnTo>
                    <a:lnTo>
                      <a:pt x="5073" y="1155"/>
                    </a:lnTo>
                    <a:lnTo>
                      <a:pt x="5049" y="1109"/>
                    </a:lnTo>
                    <a:lnTo>
                      <a:pt x="5025" y="1063"/>
                    </a:lnTo>
                    <a:lnTo>
                      <a:pt x="4999" y="1019"/>
                    </a:lnTo>
                    <a:lnTo>
                      <a:pt x="4973" y="976"/>
                    </a:lnTo>
                    <a:lnTo>
                      <a:pt x="4945" y="934"/>
                    </a:lnTo>
                    <a:lnTo>
                      <a:pt x="4915" y="890"/>
                    </a:lnTo>
                    <a:lnTo>
                      <a:pt x="4885" y="848"/>
                    </a:lnTo>
                    <a:lnTo>
                      <a:pt x="4853" y="806"/>
                    </a:lnTo>
                    <a:lnTo>
                      <a:pt x="4821" y="766"/>
                    </a:lnTo>
                    <a:lnTo>
                      <a:pt x="4787" y="724"/>
                    </a:lnTo>
                    <a:lnTo>
                      <a:pt x="4753" y="684"/>
                    </a:lnTo>
                    <a:lnTo>
                      <a:pt x="4717" y="646"/>
                    </a:lnTo>
                    <a:lnTo>
                      <a:pt x="4679" y="608"/>
                    </a:lnTo>
                    <a:lnTo>
                      <a:pt x="4679" y="608"/>
                    </a:lnTo>
                    <a:lnTo>
                      <a:pt x="4641" y="572"/>
                    </a:lnTo>
                    <a:lnTo>
                      <a:pt x="4603" y="536"/>
                    </a:lnTo>
                    <a:lnTo>
                      <a:pt x="4565" y="502"/>
                    </a:lnTo>
                    <a:lnTo>
                      <a:pt x="4527" y="468"/>
                    </a:lnTo>
                    <a:lnTo>
                      <a:pt x="4487" y="436"/>
                    </a:lnTo>
                    <a:lnTo>
                      <a:pt x="4445" y="406"/>
                    </a:lnTo>
                    <a:lnTo>
                      <a:pt x="4405" y="376"/>
                    </a:lnTo>
                    <a:lnTo>
                      <a:pt x="4363" y="348"/>
                    </a:lnTo>
                    <a:lnTo>
                      <a:pt x="4319" y="320"/>
                    </a:lnTo>
                    <a:lnTo>
                      <a:pt x="4277" y="292"/>
                    </a:lnTo>
                    <a:lnTo>
                      <a:pt x="4233" y="268"/>
                    </a:lnTo>
                    <a:lnTo>
                      <a:pt x="4189" y="242"/>
                    </a:lnTo>
                    <a:lnTo>
                      <a:pt x="4143" y="220"/>
                    </a:lnTo>
                    <a:lnTo>
                      <a:pt x="4099" y="198"/>
                    </a:lnTo>
                    <a:lnTo>
                      <a:pt x="4053" y="176"/>
                    </a:lnTo>
                    <a:lnTo>
                      <a:pt x="4005" y="156"/>
                    </a:lnTo>
                    <a:lnTo>
                      <a:pt x="3959" y="138"/>
                    </a:lnTo>
                    <a:lnTo>
                      <a:pt x="3911" y="120"/>
                    </a:lnTo>
                    <a:lnTo>
                      <a:pt x="3863" y="104"/>
                    </a:lnTo>
                    <a:lnTo>
                      <a:pt x="3815" y="88"/>
                    </a:lnTo>
                    <a:lnTo>
                      <a:pt x="3767" y="74"/>
                    </a:lnTo>
                    <a:lnTo>
                      <a:pt x="3717" y="62"/>
                    </a:lnTo>
                    <a:lnTo>
                      <a:pt x="3669" y="50"/>
                    </a:lnTo>
                    <a:lnTo>
                      <a:pt x="3619" y="40"/>
                    </a:lnTo>
                    <a:lnTo>
                      <a:pt x="3569" y="30"/>
                    </a:lnTo>
                    <a:lnTo>
                      <a:pt x="3519" y="22"/>
                    </a:lnTo>
                    <a:lnTo>
                      <a:pt x="3467" y="16"/>
                    </a:lnTo>
                    <a:lnTo>
                      <a:pt x="3417" y="10"/>
                    </a:lnTo>
                    <a:lnTo>
                      <a:pt x="3365" y="6"/>
                    </a:lnTo>
                    <a:lnTo>
                      <a:pt x="3315" y="2"/>
                    </a:lnTo>
                    <a:lnTo>
                      <a:pt x="3263" y="0"/>
                    </a:lnTo>
                    <a:lnTo>
                      <a:pt x="3211" y="0"/>
                    </a:lnTo>
                    <a:lnTo>
                      <a:pt x="3211" y="0"/>
                    </a:lnTo>
                    <a:lnTo>
                      <a:pt x="3159" y="0"/>
                    </a:lnTo>
                    <a:lnTo>
                      <a:pt x="3107" y="2"/>
                    </a:lnTo>
                    <a:lnTo>
                      <a:pt x="3055" y="6"/>
                    </a:lnTo>
                    <a:lnTo>
                      <a:pt x="3005" y="10"/>
                    </a:lnTo>
                    <a:lnTo>
                      <a:pt x="2953" y="16"/>
                    </a:lnTo>
                    <a:lnTo>
                      <a:pt x="2903" y="22"/>
                    </a:lnTo>
                    <a:lnTo>
                      <a:pt x="2853" y="30"/>
                    </a:lnTo>
                    <a:lnTo>
                      <a:pt x="2803" y="40"/>
                    </a:lnTo>
                    <a:lnTo>
                      <a:pt x="2753" y="50"/>
                    </a:lnTo>
                    <a:lnTo>
                      <a:pt x="2703" y="62"/>
                    </a:lnTo>
                    <a:lnTo>
                      <a:pt x="2655" y="74"/>
                    </a:lnTo>
                    <a:lnTo>
                      <a:pt x="2604" y="88"/>
                    </a:lnTo>
                    <a:lnTo>
                      <a:pt x="2556" y="104"/>
                    </a:lnTo>
                    <a:lnTo>
                      <a:pt x="2508" y="120"/>
                    </a:lnTo>
                    <a:lnTo>
                      <a:pt x="2462" y="138"/>
                    </a:lnTo>
                    <a:lnTo>
                      <a:pt x="2414" y="156"/>
                    </a:lnTo>
                    <a:lnTo>
                      <a:pt x="2368" y="176"/>
                    </a:lnTo>
                    <a:lnTo>
                      <a:pt x="2322" y="198"/>
                    </a:lnTo>
                    <a:lnTo>
                      <a:pt x="2276" y="220"/>
                    </a:lnTo>
                    <a:lnTo>
                      <a:pt x="2232" y="242"/>
                    </a:lnTo>
                    <a:lnTo>
                      <a:pt x="2188" y="268"/>
                    </a:lnTo>
                    <a:lnTo>
                      <a:pt x="2144" y="292"/>
                    </a:lnTo>
                    <a:lnTo>
                      <a:pt x="2100" y="320"/>
                    </a:lnTo>
                    <a:lnTo>
                      <a:pt x="2058" y="348"/>
                    </a:lnTo>
                    <a:lnTo>
                      <a:pt x="2016" y="376"/>
                    </a:lnTo>
                    <a:lnTo>
                      <a:pt x="1974" y="406"/>
                    </a:lnTo>
                    <a:lnTo>
                      <a:pt x="1934" y="436"/>
                    </a:lnTo>
                    <a:lnTo>
                      <a:pt x="1894" y="468"/>
                    </a:lnTo>
                    <a:lnTo>
                      <a:pt x="1854" y="502"/>
                    </a:lnTo>
                    <a:lnTo>
                      <a:pt x="1816" y="536"/>
                    </a:lnTo>
                    <a:lnTo>
                      <a:pt x="1778" y="572"/>
                    </a:lnTo>
                    <a:lnTo>
                      <a:pt x="1742" y="608"/>
                    </a:lnTo>
                    <a:lnTo>
                      <a:pt x="1742" y="608"/>
                    </a:lnTo>
                    <a:lnTo>
                      <a:pt x="1706" y="644"/>
                    </a:lnTo>
                    <a:lnTo>
                      <a:pt x="1670" y="682"/>
                    </a:lnTo>
                    <a:lnTo>
                      <a:pt x="1638" y="720"/>
                    </a:lnTo>
                    <a:lnTo>
                      <a:pt x="1604" y="758"/>
                    </a:lnTo>
                    <a:lnTo>
                      <a:pt x="1574" y="798"/>
                    </a:lnTo>
                    <a:lnTo>
                      <a:pt x="1542" y="838"/>
                    </a:lnTo>
                    <a:lnTo>
                      <a:pt x="1514" y="878"/>
                    </a:lnTo>
                    <a:lnTo>
                      <a:pt x="1486" y="918"/>
                    </a:lnTo>
                    <a:lnTo>
                      <a:pt x="1432" y="1001"/>
                    </a:lnTo>
                    <a:lnTo>
                      <a:pt x="1384" y="1087"/>
                    </a:lnTo>
                    <a:lnTo>
                      <a:pt x="1338" y="1173"/>
                    </a:lnTo>
                    <a:lnTo>
                      <a:pt x="1298" y="1261"/>
                    </a:lnTo>
                    <a:lnTo>
                      <a:pt x="1264" y="1351"/>
                    </a:lnTo>
                    <a:lnTo>
                      <a:pt x="1232" y="1443"/>
                    </a:lnTo>
                    <a:lnTo>
                      <a:pt x="1204" y="1535"/>
                    </a:lnTo>
                    <a:lnTo>
                      <a:pt x="1182" y="1629"/>
                    </a:lnTo>
                    <a:lnTo>
                      <a:pt x="1164" y="1723"/>
                    </a:lnTo>
                    <a:lnTo>
                      <a:pt x="1150" y="1817"/>
                    </a:lnTo>
                    <a:lnTo>
                      <a:pt x="1140" y="1913"/>
                    </a:lnTo>
                    <a:lnTo>
                      <a:pt x="1136" y="2009"/>
                    </a:lnTo>
                    <a:lnTo>
                      <a:pt x="1134" y="2103"/>
                    </a:lnTo>
                    <a:lnTo>
                      <a:pt x="1138" y="2199"/>
                    </a:lnTo>
                    <a:lnTo>
                      <a:pt x="1146" y="2295"/>
                    </a:lnTo>
                    <a:lnTo>
                      <a:pt x="1158" y="2389"/>
                    </a:lnTo>
                    <a:lnTo>
                      <a:pt x="1174" y="2483"/>
                    </a:lnTo>
                    <a:lnTo>
                      <a:pt x="1196" y="2577"/>
                    </a:lnTo>
                    <a:lnTo>
                      <a:pt x="1220" y="2669"/>
                    </a:lnTo>
                    <a:lnTo>
                      <a:pt x="1250" y="2761"/>
                    </a:lnTo>
                    <a:lnTo>
                      <a:pt x="1284" y="2853"/>
                    </a:lnTo>
                    <a:lnTo>
                      <a:pt x="1322" y="2941"/>
                    </a:lnTo>
                    <a:lnTo>
                      <a:pt x="1366" y="3029"/>
                    </a:lnTo>
                    <a:lnTo>
                      <a:pt x="1412" y="3115"/>
                    </a:lnTo>
                    <a:lnTo>
                      <a:pt x="1464" y="3199"/>
                    </a:lnTo>
                    <a:lnTo>
                      <a:pt x="1520" y="3281"/>
                    </a:lnTo>
                    <a:lnTo>
                      <a:pt x="1550" y="3321"/>
                    </a:lnTo>
                    <a:lnTo>
                      <a:pt x="1580" y="3361"/>
                    </a:lnTo>
                    <a:lnTo>
                      <a:pt x="1612" y="3401"/>
                    </a:lnTo>
                    <a:lnTo>
                      <a:pt x="1644" y="3439"/>
                    </a:lnTo>
                    <a:lnTo>
                      <a:pt x="0" y="5082"/>
                    </a:lnTo>
                    <a:lnTo>
                      <a:pt x="202" y="5284"/>
                    </a:lnTo>
                    <a:close/>
                    <a:moveTo>
                      <a:pt x="4477" y="3343"/>
                    </a:moveTo>
                    <a:lnTo>
                      <a:pt x="4477" y="3343"/>
                    </a:lnTo>
                    <a:lnTo>
                      <a:pt x="4413" y="3403"/>
                    </a:lnTo>
                    <a:lnTo>
                      <a:pt x="4345" y="3461"/>
                    </a:lnTo>
                    <a:lnTo>
                      <a:pt x="4277" y="3517"/>
                    </a:lnTo>
                    <a:lnTo>
                      <a:pt x="4205" y="3567"/>
                    </a:lnTo>
                    <a:lnTo>
                      <a:pt x="4131" y="3613"/>
                    </a:lnTo>
                    <a:lnTo>
                      <a:pt x="4055" y="3657"/>
                    </a:lnTo>
                    <a:lnTo>
                      <a:pt x="3977" y="3697"/>
                    </a:lnTo>
                    <a:lnTo>
                      <a:pt x="3897" y="3731"/>
                    </a:lnTo>
                    <a:lnTo>
                      <a:pt x="3815" y="3763"/>
                    </a:lnTo>
                    <a:lnTo>
                      <a:pt x="3733" y="3791"/>
                    </a:lnTo>
                    <a:lnTo>
                      <a:pt x="3649" y="3813"/>
                    </a:lnTo>
                    <a:lnTo>
                      <a:pt x="3563" y="3833"/>
                    </a:lnTo>
                    <a:lnTo>
                      <a:pt x="3477" y="3847"/>
                    </a:lnTo>
                    <a:lnTo>
                      <a:pt x="3389" y="3859"/>
                    </a:lnTo>
                    <a:lnTo>
                      <a:pt x="3301" y="3865"/>
                    </a:lnTo>
                    <a:lnTo>
                      <a:pt x="3211" y="3867"/>
                    </a:lnTo>
                    <a:lnTo>
                      <a:pt x="3211" y="3867"/>
                    </a:lnTo>
                    <a:lnTo>
                      <a:pt x="3121" y="3865"/>
                    </a:lnTo>
                    <a:lnTo>
                      <a:pt x="3033" y="3859"/>
                    </a:lnTo>
                    <a:lnTo>
                      <a:pt x="2945" y="3847"/>
                    </a:lnTo>
                    <a:lnTo>
                      <a:pt x="2859" y="3833"/>
                    </a:lnTo>
                    <a:lnTo>
                      <a:pt x="2773" y="3813"/>
                    </a:lnTo>
                    <a:lnTo>
                      <a:pt x="2689" y="3791"/>
                    </a:lnTo>
                    <a:lnTo>
                      <a:pt x="2604" y="3763"/>
                    </a:lnTo>
                    <a:lnTo>
                      <a:pt x="2524" y="3731"/>
                    </a:lnTo>
                    <a:lnTo>
                      <a:pt x="2444" y="3697"/>
                    </a:lnTo>
                    <a:lnTo>
                      <a:pt x="2366" y="3657"/>
                    </a:lnTo>
                    <a:lnTo>
                      <a:pt x="2290" y="3613"/>
                    </a:lnTo>
                    <a:lnTo>
                      <a:pt x="2216" y="3567"/>
                    </a:lnTo>
                    <a:lnTo>
                      <a:pt x="2144" y="3517"/>
                    </a:lnTo>
                    <a:lnTo>
                      <a:pt x="2074" y="3461"/>
                    </a:lnTo>
                    <a:lnTo>
                      <a:pt x="2008" y="3403"/>
                    </a:lnTo>
                    <a:lnTo>
                      <a:pt x="1942" y="3343"/>
                    </a:lnTo>
                    <a:lnTo>
                      <a:pt x="1942" y="3343"/>
                    </a:lnTo>
                    <a:lnTo>
                      <a:pt x="1910" y="3307"/>
                    </a:lnTo>
                    <a:lnTo>
                      <a:pt x="1876" y="3273"/>
                    </a:lnTo>
                    <a:lnTo>
                      <a:pt x="1846" y="3237"/>
                    </a:lnTo>
                    <a:lnTo>
                      <a:pt x="1816" y="3201"/>
                    </a:lnTo>
                    <a:lnTo>
                      <a:pt x="1788" y="3165"/>
                    </a:lnTo>
                    <a:lnTo>
                      <a:pt x="1760" y="3127"/>
                    </a:lnTo>
                    <a:lnTo>
                      <a:pt x="1706" y="3051"/>
                    </a:lnTo>
                    <a:lnTo>
                      <a:pt x="1962" y="3051"/>
                    </a:lnTo>
                    <a:lnTo>
                      <a:pt x="2707" y="3051"/>
                    </a:lnTo>
                    <a:lnTo>
                      <a:pt x="2993" y="3051"/>
                    </a:lnTo>
                    <a:lnTo>
                      <a:pt x="3453" y="3051"/>
                    </a:lnTo>
                    <a:lnTo>
                      <a:pt x="3737" y="3051"/>
                    </a:lnTo>
                    <a:lnTo>
                      <a:pt x="4483" y="3051"/>
                    </a:lnTo>
                    <a:lnTo>
                      <a:pt x="4713" y="3051"/>
                    </a:lnTo>
                    <a:lnTo>
                      <a:pt x="4713" y="3051"/>
                    </a:lnTo>
                    <a:lnTo>
                      <a:pt x="4661" y="3127"/>
                    </a:lnTo>
                    <a:lnTo>
                      <a:pt x="4633" y="3165"/>
                    </a:lnTo>
                    <a:lnTo>
                      <a:pt x="4605" y="3201"/>
                    </a:lnTo>
                    <a:lnTo>
                      <a:pt x="4575" y="3237"/>
                    </a:lnTo>
                    <a:lnTo>
                      <a:pt x="4543" y="3273"/>
                    </a:lnTo>
                    <a:lnTo>
                      <a:pt x="4511" y="3307"/>
                    </a:lnTo>
                    <a:lnTo>
                      <a:pt x="4477" y="3343"/>
                    </a:lnTo>
                    <a:lnTo>
                      <a:pt x="4477" y="3343"/>
                    </a:lnTo>
                    <a:close/>
                    <a:moveTo>
                      <a:pt x="2993" y="1481"/>
                    </a:moveTo>
                    <a:lnTo>
                      <a:pt x="2993" y="1201"/>
                    </a:lnTo>
                    <a:lnTo>
                      <a:pt x="3453" y="1201"/>
                    </a:lnTo>
                    <a:lnTo>
                      <a:pt x="3453" y="1867"/>
                    </a:lnTo>
                    <a:lnTo>
                      <a:pt x="3453" y="2765"/>
                    </a:lnTo>
                    <a:lnTo>
                      <a:pt x="2993" y="2765"/>
                    </a:lnTo>
                    <a:lnTo>
                      <a:pt x="2993" y="1481"/>
                    </a:lnTo>
                    <a:close/>
                    <a:moveTo>
                      <a:pt x="4197" y="2765"/>
                    </a:moveTo>
                    <a:lnTo>
                      <a:pt x="3737" y="2765"/>
                    </a:lnTo>
                    <a:lnTo>
                      <a:pt x="3737" y="2151"/>
                    </a:lnTo>
                    <a:lnTo>
                      <a:pt x="4197" y="2151"/>
                    </a:lnTo>
                    <a:lnTo>
                      <a:pt x="4197" y="2765"/>
                    </a:lnTo>
                    <a:close/>
                    <a:moveTo>
                      <a:pt x="2707" y="2765"/>
                    </a:moveTo>
                    <a:lnTo>
                      <a:pt x="2246" y="2765"/>
                    </a:lnTo>
                    <a:lnTo>
                      <a:pt x="2246" y="1765"/>
                    </a:lnTo>
                    <a:lnTo>
                      <a:pt x="2707" y="1765"/>
                    </a:lnTo>
                    <a:lnTo>
                      <a:pt x="2707" y="2765"/>
                    </a:lnTo>
                    <a:close/>
                    <a:moveTo>
                      <a:pt x="1942" y="808"/>
                    </a:moveTo>
                    <a:lnTo>
                      <a:pt x="1942" y="808"/>
                    </a:lnTo>
                    <a:lnTo>
                      <a:pt x="2008" y="748"/>
                    </a:lnTo>
                    <a:lnTo>
                      <a:pt x="2074" y="690"/>
                    </a:lnTo>
                    <a:lnTo>
                      <a:pt x="2144" y="634"/>
                    </a:lnTo>
                    <a:lnTo>
                      <a:pt x="2216" y="584"/>
                    </a:lnTo>
                    <a:lnTo>
                      <a:pt x="2290" y="538"/>
                    </a:lnTo>
                    <a:lnTo>
                      <a:pt x="2366" y="494"/>
                    </a:lnTo>
                    <a:lnTo>
                      <a:pt x="2444" y="454"/>
                    </a:lnTo>
                    <a:lnTo>
                      <a:pt x="2524" y="420"/>
                    </a:lnTo>
                    <a:lnTo>
                      <a:pt x="2604" y="388"/>
                    </a:lnTo>
                    <a:lnTo>
                      <a:pt x="2689" y="360"/>
                    </a:lnTo>
                    <a:lnTo>
                      <a:pt x="2773" y="338"/>
                    </a:lnTo>
                    <a:lnTo>
                      <a:pt x="2859" y="318"/>
                    </a:lnTo>
                    <a:lnTo>
                      <a:pt x="2945" y="304"/>
                    </a:lnTo>
                    <a:lnTo>
                      <a:pt x="3033" y="292"/>
                    </a:lnTo>
                    <a:lnTo>
                      <a:pt x="3121" y="286"/>
                    </a:lnTo>
                    <a:lnTo>
                      <a:pt x="3211" y="284"/>
                    </a:lnTo>
                    <a:lnTo>
                      <a:pt x="3211" y="284"/>
                    </a:lnTo>
                    <a:lnTo>
                      <a:pt x="3301" y="286"/>
                    </a:lnTo>
                    <a:lnTo>
                      <a:pt x="3389" y="292"/>
                    </a:lnTo>
                    <a:lnTo>
                      <a:pt x="3477" y="304"/>
                    </a:lnTo>
                    <a:lnTo>
                      <a:pt x="3563" y="318"/>
                    </a:lnTo>
                    <a:lnTo>
                      <a:pt x="3649" y="338"/>
                    </a:lnTo>
                    <a:lnTo>
                      <a:pt x="3733" y="360"/>
                    </a:lnTo>
                    <a:lnTo>
                      <a:pt x="3815" y="388"/>
                    </a:lnTo>
                    <a:lnTo>
                      <a:pt x="3897" y="420"/>
                    </a:lnTo>
                    <a:lnTo>
                      <a:pt x="3977" y="454"/>
                    </a:lnTo>
                    <a:lnTo>
                      <a:pt x="4055" y="494"/>
                    </a:lnTo>
                    <a:lnTo>
                      <a:pt x="4131" y="538"/>
                    </a:lnTo>
                    <a:lnTo>
                      <a:pt x="4205" y="584"/>
                    </a:lnTo>
                    <a:lnTo>
                      <a:pt x="4277" y="634"/>
                    </a:lnTo>
                    <a:lnTo>
                      <a:pt x="4345" y="690"/>
                    </a:lnTo>
                    <a:lnTo>
                      <a:pt x="4413" y="748"/>
                    </a:lnTo>
                    <a:lnTo>
                      <a:pt x="4477" y="808"/>
                    </a:lnTo>
                    <a:lnTo>
                      <a:pt x="4477" y="808"/>
                    </a:lnTo>
                    <a:lnTo>
                      <a:pt x="4527" y="860"/>
                    </a:lnTo>
                    <a:lnTo>
                      <a:pt x="4573" y="910"/>
                    </a:lnTo>
                    <a:lnTo>
                      <a:pt x="4615" y="964"/>
                    </a:lnTo>
                    <a:lnTo>
                      <a:pt x="4657" y="1017"/>
                    </a:lnTo>
                    <a:lnTo>
                      <a:pt x="4697" y="1073"/>
                    </a:lnTo>
                    <a:lnTo>
                      <a:pt x="4733" y="1129"/>
                    </a:lnTo>
                    <a:lnTo>
                      <a:pt x="4767" y="1187"/>
                    </a:lnTo>
                    <a:lnTo>
                      <a:pt x="4799" y="1245"/>
                    </a:lnTo>
                    <a:lnTo>
                      <a:pt x="4829" y="1305"/>
                    </a:lnTo>
                    <a:lnTo>
                      <a:pt x="4855" y="1365"/>
                    </a:lnTo>
                    <a:lnTo>
                      <a:pt x="4881" y="1427"/>
                    </a:lnTo>
                    <a:lnTo>
                      <a:pt x="4903" y="1489"/>
                    </a:lnTo>
                    <a:lnTo>
                      <a:pt x="4923" y="1551"/>
                    </a:lnTo>
                    <a:lnTo>
                      <a:pt x="4941" y="1613"/>
                    </a:lnTo>
                    <a:lnTo>
                      <a:pt x="4957" y="1677"/>
                    </a:lnTo>
                    <a:lnTo>
                      <a:pt x="4971" y="1741"/>
                    </a:lnTo>
                    <a:lnTo>
                      <a:pt x="4981" y="1805"/>
                    </a:lnTo>
                    <a:lnTo>
                      <a:pt x="4989" y="1869"/>
                    </a:lnTo>
                    <a:lnTo>
                      <a:pt x="4995" y="1935"/>
                    </a:lnTo>
                    <a:lnTo>
                      <a:pt x="4999" y="1999"/>
                    </a:lnTo>
                    <a:lnTo>
                      <a:pt x="5001" y="2065"/>
                    </a:lnTo>
                    <a:lnTo>
                      <a:pt x="5001" y="2129"/>
                    </a:lnTo>
                    <a:lnTo>
                      <a:pt x="4997" y="2195"/>
                    </a:lnTo>
                    <a:lnTo>
                      <a:pt x="4991" y="2259"/>
                    </a:lnTo>
                    <a:lnTo>
                      <a:pt x="4983" y="2325"/>
                    </a:lnTo>
                    <a:lnTo>
                      <a:pt x="4973" y="2389"/>
                    </a:lnTo>
                    <a:lnTo>
                      <a:pt x="4961" y="2453"/>
                    </a:lnTo>
                    <a:lnTo>
                      <a:pt x="4947" y="2517"/>
                    </a:lnTo>
                    <a:lnTo>
                      <a:pt x="4929" y="2579"/>
                    </a:lnTo>
                    <a:lnTo>
                      <a:pt x="4909" y="2643"/>
                    </a:lnTo>
                    <a:lnTo>
                      <a:pt x="4887" y="2705"/>
                    </a:lnTo>
                    <a:lnTo>
                      <a:pt x="4863" y="2765"/>
                    </a:lnTo>
                    <a:lnTo>
                      <a:pt x="4483" y="2765"/>
                    </a:lnTo>
                    <a:lnTo>
                      <a:pt x="4483" y="1867"/>
                    </a:lnTo>
                    <a:lnTo>
                      <a:pt x="3737" y="1867"/>
                    </a:lnTo>
                    <a:lnTo>
                      <a:pt x="3737" y="916"/>
                    </a:lnTo>
                    <a:lnTo>
                      <a:pt x="2707" y="916"/>
                    </a:lnTo>
                    <a:lnTo>
                      <a:pt x="2707" y="1481"/>
                    </a:lnTo>
                    <a:lnTo>
                      <a:pt x="1962" y="1481"/>
                    </a:lnTo>
                    <a:lnTo>
                      <a:pt x="1962" y="2765"/>
                    </a:lnTo>
                    <a:lnTo>
                      <a:pt x="1558" y="2765"/>
                    </a:lnTo>
                    <a:lnTo>
                      <a:pt x="1558" y="2765"/>
                    </a:lnTo>
                    <a:lnTo>
                      <a:pt x="1532" y="2705"/>
                    </a:lnTo>
                    <a:lnTo>
                      <a:pt x="1510" y="2643"/>
                    </a:lnTo>
                    <a:lnTo>
                      <a:pt x="1492" y="2579"/>
                    </a:lnTo>
                    <a:lnTo>
                      <a:pt x="1474" y="2517"/>
                    </a:lnTo>
                    <a:lnTo>
                      <a:pt x="1460" y="2453"/>
                    </a:lnTo>
                    <a:lnTo>
                      <a:pt x="1446" y="2389"/>
                    </a:lnTo>
                    <a:lnTo>
                      <a:pt x="1436" y="2325"/>
                    </a:lnTo>
                    <a:lnTo>
                      <a:pt x="1428" y="2259"/>
                    </a:lnTo>
                    <a:lnTo>
                      <a:pt x="1424" y="2195"/>
                    </a:lnTo>
                    <a:lnTo>
                      <a:pt x="1420" y="2129"/>
                    </a:lnTo>
                    <a:lnTo>
                      <a:pt x="1420" y="2065"/>
                    </a:lnTo>
                    <a:lnTo>
                      <a:pt x="1420" y="1999"/>
                    </a:lnTo>
                    <a:lnTo>
                      <a:pt x="1424" y="1935"/>
                    </a:lnTo>
                    <a:lnTo>
                      <a:pt x="1430" y="1869"/>
                    </a:lnTo>
                    <a:lnTo>
                      <a:pt x="1440" y="1805"/>
                    </a:lnTo>
                    <a:lnTo>
                      <a:pt x="1450" y="1741"/>
                    </a:lnTo>
                    <a:lnTo>
                      <a:pt x="1464" y="1677"/>
                    </a:lnTo>
                    <a:lnTo>
                      <a:pt x="1478" y="1613"/>
                    </a:lnTo>
                    <a:lnTo>
                      <a:pt x="1496" y="1551"/>
                    </a:lnTo>
                    <a:lnTo>
                      <a:pt x="1516" y="1489"/>
                    </a:lnTo>
                    <a:lnTo>
                      <a:pt x="1540" y="1427"/>
                    </a:lnTo>
                    <a:lnTo>
                      <a:pt x="1564" y="1365"/>
                    </a:lnTo>
                    <a:lnTo>
                      <a:pt x="1592" y="1305"/>
                    </a:lnTo>
                    <a:lnTo>
                      <a:pt x="1622" y="1245"/>
                    </a:lnTo>
                    <a:lnTo>
                      <a:pt x="1654" y="1187"/>
                    </a:lnTo>
                    <a:lnTo>
                      <a:pt x="1688" y="1129"/>
                    </a:lnTo>
                    <a:lnTo>
                      <a:pt x="1724" y="1073"/>
                    </a:lnTo>
                    <a:lnTo>
                      <a:pt x="1764" y="1017"/>
                    </a:lnTo>
                    <a:lnTo>
                      <a:pt x="1804" y="964"/>
                    </a:lnTo>
                    <a:lnTo>
                      <a:pt x="1848" y="910"/>
                    </a:lnTo>
                    <a:lnTo>
                      <a:pt x="1894" y="860"/>
                    </a:lnTo>
                    <a:lnTo>
                      <a:pt x="1942" y="808"/>
                    </a:lnTo>
                    <a:lnTo>
                      <a:pt x="1942" y="8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</p:grpSp>
        <p:grpSp>
          <p:nvGrpSpPr>
            <p:cNvPr id="226" name="Group 153">
              <a:extLst>
                <a:ext uri="{FF2B5EF4-FFF2-40B4-BE49-F238E27FC236}">
                  <a16:creationId xmlns:a16="http://schemas.microsoft.com/office/drawing/2014/main" id="{ACD07300-968C-49FA-9091-DA7D877695D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02821" y="4042947"/>
              <a:ext cx="429725" cy="429982"/>
              <a:chOff x="988" y="0"/>
              <a:chExt cx="6700" cy="6704"/>
            </a:xfrm>
            <a:solidFill>
              <a:schemeClr val="bg1"/>
            </a:solidFill>
          </p:grpSpPr>
          <p:sp>
            <p:nvSpPr>
              <p:cNvPr id="231" name="Freeform 154">
                <a:extLst>
                  <a:ext uri="{FF2B5EF4-FFF2-40B4-BE49-F238E27FC236}">
                    <a16:creationId xmlns:a16="http://schemas.microsoft.com/office/drawing/2014/main" id="{E753760A-B324-47B6-9207-2B4CC9B4E9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8" y="0"/>
                <a:ext cx="6700" cy="6704"/>
              </a:xfrm>
              <a:custGeom>
                <a:avLst/>
                <a:gdLst>
                  <a:gd name="T0" fmla="*/ 0 w 6700"/>
                  <a:gd name="T1" fmla="*/ 0 h 6704"/>
                  <a:gd name="T2" fmla="*/ 0 w 6700"/>
                  <a:gd name="T3" fmla="*/ 6704 h 6704"/>
                  <a:gd name="T4" fmla="*/ 6700 w 6700"/>
                  <a:gd name="T5" fmla="*/ 6704 h 6704"/>
                  <a:gd name="T6" fmla="*/ 6700 w 6700"/>
                  <a:gd name="T7" fmla="*/ 0 h 6704"/>
                  <a:gd name="T8" fmla="*/ 0 w 6700"/>
                  <a:gd name="T9" fmla="*/ 0 h 6704"/>
                  <a:gd name="T10" fmla="*/ 284 w 6700"/>
                  <a:gd name="T11" fmla="*/ 286 h 6704"/>
                  <a:gd name="T12" fmla="*/ 6414 w 6700"/>
                  <a:gd name="T13" fmla="*/ 286 h 6704"/>
                  <a:gd name="T14" fmla="*/ 6414 w 6700"/>
                  <a:gd name="T15" fmla="*/ 1048 h 6704"/>
                  <a:gd name="T16" fmla="*/ 1046 w 6700"/>
                  <a:gd name="T17" fmla="*/ 1048 h 6704"/>
                  <a:gd name="T18" fmla="*/ 1046 w 6700"/>
                  <a:gd name="T19" fmla="*/ 6418 h 6704"/>
                  <a:gd name="T20" fmla="*/ 284 w 6700"/>
                  <a:gd name="T21" fmla="*/ 6418 h 6704"/>
                  <a:gd name="T22" fmla="*/ 284 w 6700"/>
                  <a:gd name="T23" fmla="*/ 286 h 6704"/>
                  <a:gd name="T24" fmla="*/ 2091 w 6700"/>
                  <a:gd name="T25" fmla="*/ 6418 h 6704"/>
                  <a:gd name="T26" fmla="*/ 1332 w 6700"/>
                  <a:gd name="T27" fmla="*/ 6418 h 6704"/>
                  <a:gd name="T28" fmla="*/ 1332 w 6700"/>
                  <a:gd name="T29" fmla="*/ 1334 h 6704"/>
                  <a:gd name="T30" fmla="*/ 6414 w 6700"/>
                  <a:gd name="T31" fmla="*/ 1334 h 6704"/>
                  <a:gd name="T32" fmla="*/ 6414 w 6700"/>
                  <a:gd name="T33" fmla="*/ 2094 h 6704"/>
                  <a:gd name="T34" fmla="*/ 2091 w 6700"/>
                  <a:gd name="T35" fmla="*/ 2094 h 6704"/>
                  <a:gd name="T36" fmla="*/ 2091 w 6700"/>
                  <a:gd name="T37" fmla="*/ 6418 h 6704"/>
                  <a:gd name="T38" fmla="*/ 2377 w 6700"/>
                  <a:gd name="T39" fmla="*/ 6418 h 6704"/>
                  <a:gd name="T40" fmla="*/ 2377 w 6700"/>
                  <a:gd name="T41" fmla="*/ 2380 h 6704"/>
                  <a:gd name="T42" fmla="*/ 6414 w 6700"/>
                  <a:gd name="T43" fmla="*/ 2380 h 6704"/>
                  <a:gd name="T44" fmla="*/ 6414 w 6700"/>
                  <a:gd name="T45" fmla="*/ 6418 h 6704"/>
                  <a:gd name="T46" fmla="*/ 2377 w 6700"/>
                  <a:gd name="T47" fmla="*/ 6418 h 6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700" h="6704">
                    <a:moveTo>
                      <a:pt x="0" y="0"/>
                    </a:moveTo>
                    <a:lnTo>
                      <a:pt x="0" y="6704"/>
                    </a:lnTo>
                    <a:lnTo>
                      <a:pt x="6700" y="6704"/>
                    </a:lnTo>
                    <a:lnTo>
                      <a:pt x="6700" y="0"/>
                    </a:lnTo>
                    <a:lnTo>
                      <a:pt x="0" y="0"/>
                    </a:lnTo>
                    <a:close/>
                    <a:moveTo>
                      <a:pt x="284" y="286"/>
                    </a:moveTo>
                    <a:lnTo>
                      <a:pt x="6414" y="286"/>
                    </a:lnTo>
                    <a:lnTo>
                      <a:pt x="6414" y="1048"/>
                    </a:lnTo>
                    <a:lnTo>
                      <a:pt x="1046" y="1048"/>
                    </a:lnTo>
                    <a:lnTo>
                      <a:pt x="1046" y="6418"/>
                    </a:lnTo>
                    <a:lnTo>
                      <a:pt x="284" y="6418"/>
                    </a:lnTo>
                    <a:lnTo>
                      <a:pt x="284" y="286"/>
                    </a:lnTo>
                    <a:close/>
                    <a:moveTo>
                      <a:pt x="2091" y="6418"/>
                    </a:moveTo>
                    <a:lnTo>
                      <a:pt x="1332" y="6418"/>
                    </a:lnTo>
                    <a:lnTo>
                      <a:pt x="1332" y="1334"/>
                    </a:lnTo>
                    <a:lnTo>
                      <a:pt x="6414" y="1334"/>
                    </a:lnTo>
                    <a:lnTo>
                      <a:pt x="6414" y="2094"/>
                    </a:lnTo>
                    <a:lnTo>
                      <a:pt x="2091" y="2094"/>
                    </a:lnTo>
                    <a:lnTo>
                      <a:pt x="2091" y="6418"/>
                    </a:lnTo>
                    <a:close/>
                    <a:moveTo>
                      <a:pt x="2377" y="6418"/>
                    </a:moveTo>
                    <a:lnTo>
                      <a:pt x="2377" y="2380"/>
                    </a:lnTo>
                    <a:lnTo>
                      <a:pt x="6414" y="2380"/>
                    </a:lnTo>
                    <a:lnTo>
                      <a:pt x="6414" y="6418"/>
                    </a:lnTo>
                    <a:lnTo>
                      <a:pt x="2377" y="64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32" name="Freeform 155">
                <a:extLst>
                  <a:ext uri="{FF2B5EF4-FFF2-40B4-BE49-F238E27FC236}">
                    <a16:creationId xmlns:a16="http://schemas.microsoft.com/office/drawing/2014/main" id="{0F113DB9-C269-4C10-8C61-A01679102D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77" y="3006"/>
                <a:ext cx="2225" cy="2706"/>
              </a:xfrm>
              <a:custGeom>
                <a:avLst/>
                <a:gdLst>
                  <a:gd name="T0" fmla="*/ 1785 w 2225"/>
                  <a:gd name="T1" fmla="*/ 672 h 2706"/>
                  <a:gd name="T2" fmla="*/ 1781 w 2225"/>
                  <a:gd name="T3" fmla="*/ 604 h 2706"/>
                  <a:gd name="T4" fmla="*/ 1771 w 2225"/>
                  <a:gd name="T5" fmla="*/ 538 h 2706"/>
                  <a:gd name="T6" fmla="*/ 1755 w 2225"/>
                  <a:gd name="T7" fmla="*/ 472 h 2706"/>
                  <a:gd name="T8" fmla="*/ 1732 w 2225"/>
                  <a:gd name="T9" fmla="*/ 410 h 2706"/>
                  <a:gd name="T10" fmla="*/ 1704 w 2225"/>
                  <a:gd name="T11" fmla="*/ 352 h 2706"/>
                  <a:gd name="T12" fmla="*/ 1670 w 2225"/>
                  <a:gd name="T13" fmla="*/ 296 h 2706"/>
                  <a:gd name="T14" fmla="*/ 1632 w 2225"/>
                  <a:gd name="T15" fmla="*/ 244 h 2706"/>
                  <a:gd name="T16" fmla="*/ 1588 w 2225"/>
                  <a:gd name="T17" fmla="*/ 198 h 2706"/>
                  <a:gd name="T18" fmla="*/ 1540 w 2225"/>
                  <a:gd name="T19" fmla="*/ 154 h 2706"/>
                  <a:gd name="T20" fmla="*/ 1488 w 2225"/>
                  <a:gd name="T21" fmla="*/ 116 h 2706"/>
                  <a:gd name="T22" fmla="*/ 1434 w 2225"/>
                  <a:gd name="T23" fmla="*/ 82 h 2706"/>
                  <a:gd name="T24" fmla="*/ 1374 w 2225"/>
                  <a:gd name="T25" fmla="*/ 52 h 2706"/>
                  <a:gd name="T26" fmla="*/ 1312 w 2225"/>
                  <a:gd name="T27" fmla="*/ 30 h 2706"/>
                  <a:gd name="T28" fmla="*/ 1248 w 2225"/>
                  <a:gd name="T29" fmla="*/ 14 h 2706"/>
                  <a:gd name="T30" fmla="*/ 1182 w 2225"/>
                  <a:gd name="T31" fmla="*/ 4 h 2706"/>
                  <a:gd name="T32" fmla="*/ 1114 w 2225"/>
                  <a:gd name="T33" fmla="*/ 0 h 2706"/>
                  <a:gd name="T34" fmla="*/ 1078 w 2225"/>
                  <a:gd name="T35" fmla="*/ 0 h 2706"/>
                  <a:gd name="T36" fmla="*/ 1010 w 2225"/>
                  <a:gd name="T37" fmla="*/ 8 h 2706"/>
                  <a:gd name="T38" fmla="*/ 946 w 2225"/>
                  <a:gd name="T39" fmla="*/ 22 h 2706"/>
                  <a:gd name="T40" fmla="*/ 882 w 2225"/>
                  <a:gd name="T41" fmla="*/ 40 h 2706"/>
                  <a:gd name="T42" fmla="*/ 822 w 2225"/>
                  <a:gd name="T43" fmla="*/ 66 h 2706"/>
                  <a:gd name="T44" fmla="*/ 764 w 2225"/>
                  <a:gd name="T45" fmla="*/ 98 h 2706"/>
                  <a:gd name="T46" fmla="*/ 712 w 2225"/>
                  <a:gd name="T47" fmla="*/ 134 h 2706"/>
                  <a:gd name="T48" fmla="*/ 662 w 2225"/>
                  <a:gd name="T49" fmla="*/ 174 h 2706"/>
                  <a:gd name="T50" fmla="*/ 616 w 2225"/>
                  <a:gd name="T51" fmla="*/ 220 h 2706"/>
                  <a:gd name="T52" fmla="*/ 574 w 2225"/>
                  <a:gd name="T53" fmla="*/ 270 h 2706"/>
                  <a:gd name="T54" fmla="*/ 538 w 2225"/>
                  <a:gd name="T55" fmla="*/ 324 h 2706"/>
                  <a:gd name="T56" fmla="*/ 508 w 2225"/>
                  <a:gd name="T57" fmla="*/ 382 h 2706"/>
                  <a:gd name="T58" fmla="*/ 482 w 2225"/>
                  <a:gd name="T59" fmla="*/ 442 h 2706"/>
                  <a:gd name="T60" fmla="*/ 462 w 2225"/>
                  <a:gd name="T61" fmla="*/ 504 h 2706"/>
                  <a:gd name="T62" fmla="*/ 448 w 2225"/>
                  <a:gd name="T63" fmla="*/ 570 h 2706"/>
                  <a:gd name="T64" fmla="*/ 442 w 2225"/>
                  <a:gd name="T65" fmla="*/ 638 h 2706"/>
                  <a:gd name="T66" fmla="*/ 440 w 2225"/>
                  <a:gd name="T67" fmla="*/ 984 h 2706"/>
                  <a:gd name="T68" fmla="*/ 0 w 2225"/>
                  <a:gd name="T69" fmla="*/ 2706 h 2706"/>
                  <a:gd name="T70" fmla="*/ 2225 w 2225"/>
                  <a:gd name="T71" fmla="*/ 984 h 2706"/>
                  <a:gd name="T72" fmla="*/ 1785 w 2225"/>
                  <a:gd name="T73" fmla="*/ 672 h 2706"/>
                  <a:gd name="T74" fmla="*/ 726 w 2225"/>
                  <a:gd name="T75" fmla="*/ 672 h 2706"/>
                  <a:gd name="T76" fmla="*/ 734 w 2225"/>
                  <a:gd name="T77" fmla="*/ 594 h 2706"/>
                  <a:gd name="T78" fmla="*/ 758 w 2225"/>
                  <a:gd name="T79" fmla="*/ 522 h 2706"/>
                  <a:gd name="T80" fmla="*/ 792 w 2225"/>
                  <a:gd name="T81" fmla="*/ 456 h 2706"/>
                  <a:gd name="T82" fmla="*/ 840 w 2225"/>
                  <a:gd name="T83" fmla="*/ 400 h 2706"/>
                  <a:gd name="T84" fmla="*/ 898 w 2225"/>
                  <a:gd name="T85" fmla="*/ 352 h 2706"/>
                  <a:gd name="T86" fmla="*/ 962 w 2225"/>
                  <a:gd name="T87" fmla="*/ 316 h 2706"/>
                  <a:gd name="T88" fmla="*/ 1036 w 2225"/>
                  <a:gd name="T89" fmla="*/ 294 h 2706"/>
                  <a:gd name="T90" fmla="*/ 1114 w 2225"/>
                  <a:gd name="T91" fmla="*/ 286 h 2706"/>
                  <a:gd name="T92" fmla="*/ 1152 w 2225"/>
                  <a:gd name="T93" fmla="*/ 288 h 2706"/>
                  <a:gd name="T94" fmla="*/ 1228 w 2225"/>
                  <a:gd name="T95" fmla="*/ 304 h 2706"/>
                  <a:gd name="T96" fmla="*/ 1298 w 2225"/>
                  <a:gd name="T97" fmla="*/ 332 h 2706"/>
                  <a:gd name="T98" fmla="*/ 1358 w 2225"/>
                  <a:gd name="T99" fmla="*/ 374 h 2706"/>
                  <a:gd name="T100" fmla="*/ 1412 w 2225"/>
                  <a:gd name="T101" fmla="*/ 426 h 2706"/>
                  <a:gd name="T102" fmla="*/ 1452 w 2225"/>
                  <a:gd name="T103" fmla="*/ 488 h 2706"/>
                  <a:gd name="T104" fmla="*/ 1482 w 2225"/>
                  <a:gd name="T105" fmla="*/ 558 h 2706"/>
                  <a:gd name="T106" fmla="*/ 1498 w 2225"/>
                  <a:gd name="T107" fmla="*/ 632 h 2706"/>
                  <a:gd name="T108" fmla="*/ 1500 w 2225"/>
                  <a:gd name="T109" fmla="*/ 984 h 2706"/>
                  <a:gd name="T110" fmla="*/ 726 w 2225"/>
                  <a:gd name="T111" fmla="*/ 672 h 2706"/>
                  <a:gd name="T112" fmla="*/ 286 w 2225"/>
                  <a:gd name="T113" fmla="*/ 2420 h 2706"/>
                  <a:gd name="T114" fmla="*/ 1939 w 2225"/>
                  <a:gd name="T115" fmla="*/ 1270 h 2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25" h="2706">
                    <a:moveTo>
                      <a:pt x="1785" y="672"/>
                    </a:moveTo>
                    <a:lnTo>
                      <a:pt x="1785" y="672"/>
                    </a:lnTo>
                    <a:lnTo>
                      <a:pt x="1783" y="638"/>
                    </a:lnTo>
                    <a:lnTo>
                      <a:pt x="1781" y="604"/>
                    </a:lnTo>
                    <a:lnTo>
                      <a:pt x="1777" y="570"/>
                    </a:lnTo>
                    <a:lnTo>
                      <a:pt x="1771" y="538"/>
                    </a:lnTo>
                    <a:lnTo>
                      <a:pt x="1763" y="504"/>
                    </a:lnTo>
                    <a:lnTo>
                      <a:pt x="1755" y="472"/>
                    </a:lnTo>
                    <a:lnTo>
                      <a:pt x="1743" y="442"/>
                    </a:lnTo>
                    <a:lnTo>
                      <a:pt x="1732" y="410"/>
                    </a:lnTo>
                    <a:lnTo>
                      <a:pt x="1720" y="382"/>
                    </a:lnTo>
                    <a:lnTo>
                      <a:pt x="1704" y="352"/>
                    </a:lnTo>
                    <a:lnTo>
                      <a:pt x="1688" y="324"/>
                    </a:lnTo>
                    <a:lnTo>
                      <a:pt x="1670" y="296"/>
                    </a:lnTo>
                    <a:lnTo>
                      <a:pt x="1652" y="270"/>
                    </a:lnTo>
                    <a:lnTo>
                      <a:pt x="1632" y="244"/>
                    </a:lnTo>
                    <a:lnTo>
                      <a:pt x="1610" y="220"/>
                    </a:lnTo>
                    <a:lnTo>
                      <a:pt x="1588" y="198"/>
                    </a:lnTo>
                    <a:lnTo>
                      <a:pt x="1564" y="174"/>
                    </a:lnTo>
                    <a:lnTo>
                      <a:pt x="1540" y="154"/>
                    </a:lnTo>
                    <a:lnTo>
                      <a:pt x="1516" y="134"/>
                    </a:lnTo>
                    <a:lnTo>
                      <a:pt x="1488" y="116"/>
                    </a:lnTo>
                    <a:lnTo>
                      <a:pt x="1462" y="98"/>
                    </a:lnTo>
                    <a:lnTo>
                      <a:pt x="1434" y="82"/>
                    </a:lnTo>
                    <a:lnTo>
                      <a:pt x="1404" y="66"/>
                    </a:lnTo>
                    <a:lnTo>
                      <a:pt x="1374" y="52"/>
                    </a:lnTo>
                    <a:lnTo>
                      <a:pt x="1344" y="40"/>
                    </a:lnTo>
                    <a:lnTo>
                      <a:pt x="1312" y="30"/>
                    </a:lnTo>
                    <a:lnTo>
                      <a:pt x="1280" y="22"/>
                    </a:lnTo>
                    <a:lnTo>
                      <a:pt x="1248" y="14"/>
                    </a:lnTo>
                    <a:lnTo>
                      <a:pt x="1216" y="8"/>
                    </a:lnTo>
                    <a:lnTo>
                      <a:pt x="1182" y="4"/>
                    </a:lnTo>
                    <a:lnTo>
                      <a:pt x="1148" y="0"/>
                    </a:lnTo>
                    <a:lnTo>
                      <a:pt x="1114" y="0"/>
                    </a:lnTo>
                    <a:lnTo>
                      <a:pt x="1114" y="0"/>
                    </a:lnTo>
                    <a:lnTo>
                      <a:pt x="1078" y="0"/>
                    </a:lnTo>
                    <a:lnTo>
                      <a:pt x="1044" y="4"/>
                    </a:lnTo>
                    <a:lnTo>
                      <a:pt x="1010" y="8"/>
                    </a:lnTo>
                    <a:lnTo>
                      <a:pt x="978" y="14"/>
                    </a:lnTo>
                    <a:lnTo>
                      <a:pt x="946" y="22"/>
                    </a:lnTo>
                    <a:lnTo>
                      <a:pt x="914" y="30"/>
                    </a:lnTo>
                    <a:lnTo>
                      <a:pt x="882" y="40"/>
                    </a:lnTo>
                    <a:lnTo>
                      <a:pt x="852" y="52"/>
                    </a:lnTo>
                    <a:lnTo>
                      <a:pt x="822" y="66"/>
                    </a:lnTo>
                    <a:lnTo>
                      <a:pt x="792" y="82"/>
                    </a:lnTo>
                    <a:lnTo>
                      <a:pt x="764" y="98"/>
                    </a:lnTo>
                    <a:lnTo>
                      <a:pt x="738" y="116"/>
                    </a:lnTo>
                    <a:lnTo>
                      <a:pt x="712" y="134"/>
                    </a:lnTo>
                    <a:lnTo>
                      <a:pt x="686" y="154"/>
                    </a:lnTo>
                    <a:lnTo>
                      <a:pt x="662" y="174"/>
                    </a:lnTo>
                    <a:lnTo>
                      <a:pt x="638" y="198"/>
                    </a:lnTo>
                    <a:lnTo>
                      <a:pt x="616" y="220"/>
                    </a:lnTo>
                    <a:lnTo>
                      <a:pt x="594" y="244"/>
                    </a:lnTo>
                    <a:lnTo>
                      <a:pt x="574" y="270"/>
                    </a:lnTo>
                    <a:lnTo>
                      <a:pt x="556" y="296"/>
                    </a:lnTo>
                    <a:lnTo>
                      <a:pt x="538" y="324"/>
                    </a:lnTo>
                    <a:lnTo>
                      <a:pt x="522" y="352"/>
                    </a:lnTo>
                    <a:lnTo>
                      <a:pt x="508" y="382"/>
                    </a:lnTo>
                    <a:lnTo>
                      <a:pt x="494" y="410"/>
                    </a:lnTo>
                    <a:lnTo>
                      <a:pt x="482" y="442"/>
                    </a:lnTo>
                    <a:lnTo>
                      <a:pt x="472" y="472"/>
                    </a:lnTo>
                    <a:lnTo>
                      <a:pt x="462" y="504"/>
                    </a:lnTo>
                    <a:lnTo>
                      <a:pt x="454" y="538"/>
                    </a:lnTo>
                    <a:lnTo>
                      <a:pt x="448" y="570"/>
                    </a:lnTo>
                    <a:lnTo>
                      <a:pt x="444" y="604"/>
                    </a:lnTo>
                    <a:lnTo>
                      <a:pt x="442" y="638"/>
                    </a:lnTo>
                    <a:lnTo>
                      <a:pt x="440" y="672"/>
                    </a:lnTo>
                    <a:lnTo>
                      <a:pt x="440" y="984"/>
                    </a:lnTo>
                    <a:lnTo>
                      <a:pt x="0" y="984"/>
                    </a:lnTo>
                    <a:lnTo>
                      <a:pt x="0" y="2706"/>
                    </a:lnTo>
                    <a:lnTo>
                      <a:pt x="2225" y="2706"/>
                    </a:lnTo>
                    <a:lnTo>
                      <a:pt x="2225" y="984"/>
                    </a:lnTo>
                    <a:lnTo>
                      <a:pt x="1785" y="984"/>
                    </a:lnTo>
                    <a:lnTo>
                      <a:pt x="1785" y="672"/>
                    </a:lnTo>
                    <a:close/>
                    <a:moveTo>
                      <a:pt x="726" y="672"/>
                    </a:moveTo>
                    <a:lnTo>
                      <a:pt x="726" y="672"/>
                    </a:lnTo>
                    <a:lnTo>
                      <a:pt x="728" y="632"/>
                    </a:lnTo>
                    <a:lnTo>
                      <a:pt x="734" y="594"/>
                    </a:lnTo>
                    <a:lnTo>
                      <a:pt x="744" y="558"/>
                    </a:lnTo>
                    <a:lnTo>
                      <a:pt x="758" y="522"/>
                    </a:lnTo>
                    <a:lnTo>
                      <a:pt x="774" y="488"/>
                    </a:lnTo>
                    <a:lnTo>
                      <a:pt x="792" y="456"/>
                    </a:lnTo>
                    <a:lnTo>
                      <a:pt x="816" y="426"/>
                    </a:lnTo>
                    <a:lnTo>
                      <a:pt x="840" y="400"/>
                    </a:lnTo>
                    <a:lnTo>
                      <a:pt x="868" y="374"/>
                    </a:lnTo>
                    <a:lnTo>
                      <a:pt x="898" y="352"/>
                    </a:lnTo>
                    <a:lnTo>
                      <a:pt x="930" y="332"/>
                    </a:lnTo>
                    <a:lnTo>
                      <a:pt x="962" y="316"/>
                    </a:lnTo>
                    <a:lnTo>
                      <a:pt x="998" y="304"/>
                    </a:lnTo>
                    <a:lnTo>
                      <a:pt x="1036" y="294"/>
                    </a:lnTo>
                    <a:lnTo>
                      <a:pt x="1074" y="288"/>
                    </a:lnTo>
                    <a:lnTo>
                      <a:pt x="1114" y="286"/>
                    </a:lnTo>
                    <a:lnTo>
                      <a:pt x="1114" y="286"/>
                    </a:lnTo>
                    <a:lnTo>
                      <a:pt x="1152" y="288"/>
                    </a:lnTo>
                    <a:lnTo>
                      <a:pt x="1190" y="294"/>
                    </a:lnTo>
                    <a:lnTo>
                      <a:pt x="1228" y="304"/>
                    </a:lnTo>
                    <a:lnTo>
                      <a:pt x="1264" y="316"/>
                    </a:lnTo>
                    <a:lnTo>
                      <a:pt x="1298" y="332"/>
                    </a:lnTo>
                    <a:lnTo>
                      <a:pt x="1330" y="352"/>
                    </a:lnTo>
                    <a:lnTo>
                      <a:pt x="1358" y="374"/>
                    </a:lnTo>
                    <a:lnTo>
                      <a:pt x="1386" y="400"/>
                    </a:lnTo>
                    <a:lnTo>
                      <a:pt x="1412" y="426"/>
                    </a:lnTo>
                    <a:lnTo>
                      <a:pt x="1434" y="456"/>
                    </a:lnTo>
                    <a:lnTo>
                      <a:pt x="1452" y="488"/>
                    </a:lnTo>
                    <a:lnTo>
                      <a:pt x="1470" y="522"/>
                    </a:lnTo>
                    <a:lnTo>
                      <a:pt x="1482" y="558"/>
                    </a:lnTo>
                    <a:lnTo>
                      <a:pt x="1492" y="594"/>
                    </a:lnTo>
                    <a:lnTo>
                      <a:pt x="1498" y="632"/>
                    </a:lnTo>
                    <a:lnTo>
                      <a:pt x="1500" y="672"/>
                    </a:lnTo>
                    <a:lnTo>
                      <a:pt x="1500" y="984"/>
                    </a:lnTo>
                    <a:lnTo>
                      <a:pt x="726" y="984"/>
                    </a:lnTo>
                    <a:lnTo>
                      <a:pt x="726" y="672"/>
                    </a:lnTo>
                    <a:close/>
                    <a:moveTo>
                      <a:pt x="1939" y="2420"/>
                    </a:moveTo>
                    <a:lnTo>
                      <a:pt x="286" y="2420"/>
                    </a:lnTo>
                    <a:lnTo>
                      <a:pt x="286" y="1270"/>
                    </a:lnTo>
                    <a:lnTo>
                      <a:pt x="1939" y="1270"/>
                    </a:lnTo>
                    <a:lnTo>
                      <a:pt x="1939" y="24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  <p:sp>
            <p:nvSpPr>
              <p:cNvPr id="233" name="Rectangle 156">
                <a:extLst>
                  <a:ext uri="{FF2B5EF4-FFF2-40B4-BE49-F238E27FC236}">
                    <a16:creationId xmlns:a16="http://schemas.microsoft.com/office/drawing/2014/main" id="{4A80E210-76D7-4971-BCFF-C2F45F8B71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7" y="4636"/>
                <a:ext cx="286" cy="4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39" dirty="0"/>
              </a:p>
            </p:txBody>
          </p:sp>
        </p:grpSp>
        <p:sp>
          <p:nvSpPr>
            <p:cNvPr id="227" name="TextBox 226">
              <a:extLst>
                <a:ext uri="{FF2B5EF4-FFF2-40B4-BE49-F238E27FC236}">
                  <a16:creationId xmlns:a16="http://schemas.microsoft.com/office/drawing/2014/main" id="{C48929AF-468F-4EE3-A1AF-BC56B8C7F408}"/>
                </a:ext>
              </a:extLst>
            </p:cNvPr>
            <p:cNvSpPr txBox="1"/>
            <p:nvPr/>
          </p:nvSpPr>
          <p:spPr>
            <a:xfrm>
              <a:off x="1922437" y="3347303"/>
              <a:ext cx="373891" cy="4349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513"/>
                </a:spcAft>
                <a:buSzPct val="100000"/>
              </a:pPr>
              <a:r>
                <a:rPr lang="en-US" sz="1200" dirty="0">
                  <a:solidFill>
                    <a:schemeClr val="tx1"/>
                  </a:solidFill>
                  <a:latin typeface="Georgia" panose="02040502050405020303" pitchFamily="18" charset="0"/>
                </a:rPr>
                <a:t>1</a:t>
              </a: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34AD60BF-D7C9-435A-BF26-33EA0F966F5E}"/>
                </a:ext>
              </a:extLst>
            </p:cNvPr>
            <p:cNvSpPr txBox="1"/>
            <p:nvPr/>
          </p:nvSpPr>
          <p:spPr>
            <a:xfrm>
              <a:off x="2493231" y="3347303"/>
              <a:ext cx="373891" cy="4349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513"/>
                </a:spcAft>
                <a:buSzPct val="100000"/>
              </a:pPr>
              <a:r>
                <a:rPr lang="en-US" sz="1200" dirty="0">
                  <a:solidFill>
                    <a:schemeClr val="tx1"/>
                  </a:solidFill>
                  <a:latin typeface="Georgia" panose="02040502050405020303" pitchFamily="18" charset="0"/>
                </a:rPr>
                <a:t>2</a:t>
              </a:r>
            </a:p>
          </p:txBody>
        </p:sp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6B18FE5A-AD8E-409D-B318-F00A389DD76A}"/>
                </a:ext>
              </a:extLst>
            </p:cNvPr>
            <p:cNvSpPr txBox="1"/>
            <p:nvPr/>
          </p:nvSpPr>
          <p:spPr>
            <a:xfrm>
              <a:off x="1922437" y="3910279"/>
              <a:ext cx="373891" cy="4349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513"/>
                </a:spcAft>
                <a:buSzPct val="100000"/>
              </a:pPr>
              <a:r>
                <a:rPr lang="en-US" sz="1200" dirty="0">
                  <a:solidFill>
                    <a:schemeClr val="tx1"/>
                  </a:solidFill>
                  <a:latin typeface="Georgia" panose="02040502050405020303" pitchFamily="18" charset="0"/>
                </a:rPr>
                <a:t>3</a:t>
              </a: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2813FC1F-4298-4EB8-8C4A-7DAB88E12F9D}"/>
                </a:ext>
              </a:extLst>
            </p:cNvPr>
            <p:cNvSpPr txBox="1"/>
            <p:nvPr/>
          </p:nvSpPr>
          <p:spPr>
            <a:xfrm>
              <a:off x="2493231" y="3910279"/>
              <a:ext cx="373891" cy="4349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513"/>
                </a:spcAft>
                <a:buSzPct val="100000"/>
              </a:pPr>
              <a:r>
                <a:rPr lang="en-US" sz="1200" dirty="0">
                  <a:solidFill>
                    <a:schemeClr val="tx1"/>
                  </a:solidFill>
                  <a:latin typeface="Georgia" panose="02040502050405020303" pitchFamily="18" charset="0"/>
                </a:rPr>
                <a:t>4</a:t>
              </a:r>
            </a:p>
          </p:txBody>
        </p:sp>
      </p:grpSp>
      <p:sp>
        <p:nvSpPr>
          <p:cNvPr id="243" name="Google Shape;5377;p388">
            <a:extLst>
              <a:ext uri="{FF2B5EF4-FFF2-40B4-BE49-F238E27FC236}">
                <a16:creationId xmlns:a16="http://schemas.microsoft.com/office/drawing/2014/main" id="{CB504748-4B26-4E3C-A21B-7C8487E86630}"/>
              </a:ext>
            </a:extLst>
          </p:cNvPr>
          <p:cNvSpPr/>
          <p:nvPr/>
        </p:nvSpPr>
        <p:spPr>
          <a:xfrm>
            <a:off x="8703276" y="5011841"/>
            <a:ext cx="324000" cy="3240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98" y="317"/>
                </a:moveTo>
                <a:cubicBezTo>
                  <a:pt x="172" y="323"/>
                  <a:pt x="155" y="349"/>
                  <a:pt x="161" y="375"/>
                </a:cubicBezTo>
                <a:cubicBezTo>
                  <a:pt x="164" y="387"/>
                  <a:pt x="171" y="398"/>
                  <a:pt x="182" y="405"/>
                </a:cubicBezTo>
                <a:cubicBezTo>
                  <a:pt x="190" y="410"/>
                  <a:pt x="199" y="412"/>
                  <a:pt x="208" y="412"/>
                </a:cubicBezTo>
                <a:cubicBezTo>
                  <a:pt x="212" y="412"/>
                  <a:pt x="215" y="412"/>
                  <a:pt x="218" y="411"/>
                </a:cubicBezTo>
                <a:cubicBezTo>
                  <a:pt x="244" y="406"/>
                  <a:pt x="261" y="380"/>
                  <a:pt x="255" y="354"/>
                </a:cubicBezTo>
                <a:cubicBezTo>
                  <a:pt x="249" y="328"/>
                  <a:pt x="224" y="312"/>
                  <a:pt x="198" y="317"/>
                </a:cubicBezTo>
                <a:close/>
                <a:moveTo>
                  <a:pt x="228" y="377"/>
                </a:moveTo>
                <a:cubicBezTo>
                  <a:pt x="225" y="383"/>
                  <a:pt x="219" y="386"/>
                  <a:pt x="213" y="388"/>
                </a:cubicBezTo>
                <a:cubicBezTo>
                  <a:pt x="207" y="389"/>
                  <a:pt x="201" y="388"/>
                  <a:pt x="195" y="384"/>
                </a:cubicBezTo>
                <a:cubicBezTo>
                  <a:pt x="190" y="381"/>
                  <a:pt x="186" y="376"/>
                  <a:pt x="185" y="369"/>
                </a:cubicBezTo>
                <a:cubicBezTo>
                  <a:pt x="182" y="357"/>
                  <a:pt x="190" y="344"/>
                  <a:pt x="203" y="341"/>
                </a:cubicBezTo>
                <a:cubicBezTo>
                  <a:pt x="209" y="340"/>
                  <a:pt x="216" y="341"/>
                  <a:pt x="221" y="344"/>
                </a:cubicBezTo>
                <a:cubicBezTo>
                  <a:pt x="226" y="348"/>
                  <a:pt x="230" y="353"/>
                  <a:pt x="231" y="359"/>
                </a:cubicBezTo>
                <a:cubicBezTo>
                  <a:pt x="233" y="365"/>
                  <a:pt x="232" y="372"/>
                  <a:pt x="228" y="377"/>
                </a:cubicBezTo>
                <a:close/>
                <a:moveTo>
                  <a:pt x="360" y="370"/>
                </a:moveTo>
                <a:cubicBezTo>
                  <a:pt x="344" y="295"/>
                  <a:pt x="344" y="295"/>
                  <a:pt x="344" y="295"/>
                </a:cubicBezTo>
                <a:cubicBezTo>
                  <a:pt x="306" y="294"/>
                  <a:pt x="306" y="294"/>
                  <a:pt x="306" y="294"/>
                </a:cubicBezTo>
                <a:cubicBezTo>
                  <a:pt x="300" y="287"/>
                  <a:pt x="294" y="280"/>
                  <a:pt x="287" y="274"/>
                </a:cubicBezTo>
                <a:cubicBezTo>
                  <a:pt x="289" y="236"/>
                  <a:pt x="289" y="236"/>
                  <a:pt x="289" y="236"/>
                </a:cubicBezTo>
                <a:cubicBezTo>
                  <a:pt x="216" y="212"/>
                  <a:pt x="216" y="212"/>
                  <a:pt x="216" y="212"/>
                </a:cubicBezTo>
                <a:cubicBezTo>
                  <a:pt x="196" y="245"/>
                  <a:pt x="196" y="245"/>
                  <a:pt x="196" y="245"/>
                </a:cubicBezTo>
                <a:cubicBezTo>
                  <a:pt x="191" y="245"/>
                  <a:pt x="187" y="246"/>
                  <a:pt x="182" y="247"/>
                </a:cubicBezTo>
                <a:cubicBezTo>
                  <a:pt x="178" y="248"/>
                  <a:pt x="174" y="249"/>
                  <a:pt x="169" y="251"/>
                </a:cubicBezTo>
                <a:cubicBezTo>
                  <a:pt x="137" y="230"/>
                  <a:pt x="137" y="230"/>
                  <a:pt x="137" y="230"/>
                </a:cubicBezTo>
                <a:cubicBezTo>
                  <a:pt x="81" y="282"/>
                  <a:pt x="81" y="282"/>
                  <a:pt x="81" y="282"/>
                </a:cubicBezTo>
                <a:cubicBezTo>
                  <a:pt x="99" y="315"/>
                  <a:pt x="99" y="315"/>
                  <a:pt x="99" y="315"/>
                </a:cubicBezTo>
                <a:cubicBezTo>
                  <a:pt x="95" y="324"/>
                  <a:pt x="92" y="333"/>
                  <a:pt x="90" y="341"/>
                </a:cubicBezTo>
                <a:cubicBezTo>
                  <a:pt x="56" y="358"/>
                  <a:pt x="56" y="358"/>
                  <a:pt x="56" y="358"/>
                </a:cubicBezTo>
                <a:cubicBezTo>
                  <a:pt x="73" y="433"/>
                  <a:pt x="73" y="433"/>
                  <a:pt x="73" y="433"/>
                </a:cubicBezTo>
                <a:cubicBezTo>
                  <a:pt x="111" y="434"/>
                  <a:pt x="111" y="434"/>
                  <a:pt x="111" y="434"/>
                </a:cubicBezTo>
                <a:cubicBezTo>
                  <a:pt x="116" y="442"/>
                  <a:pt x="122" y="449"/>
                  <a:pt x="129" y="455"/>
                </a:cubicBezTo>
                <a:cubicBezTo>
                  <a:pt x="127" y="493"/>
                  <a:pt x="127" y="493"/>
                  <a:pt x="127" y="493"/>
                </a:cubicBezTo>
                <a:cubicBezTo>
                  <a:pt x="200" y="516"/>
                  <a:pt x="200" y="516"/>
                  <a:pt x="200" y="516"/>
                </a:cubicBezTo>
                <a:cubicBezTo>
                  <a:pt x="220" y="484"/>
                  <a:pt x="220" y="484"/>
                  <a:pt x="220" y="484"/>
                </a:cubicBezTo>
                <a:cubicBezTo>
                  <a:pt x="225" y="483"/>
                  <a:pt x="230" y="482"/>
                  <a:pt x="234" y="482"/>
                </a:cubicBezTo>
                <a:cubicBezTo>
                  <a:pt x="238" y="481"/>
                  <a:pt x="242" y="479"/>
                  <a:pt x="247" y="478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336" y="447"/>
                  <a:pt x="336" y="447"/>
                  <a:pt x="336" y="447"/>
                </a:cubicBezTo>
                <a:cubicBezTo>
                  <a:pt x="318" y="413"/>
                  <a:pt x="318" y="413"/>
                  <a:pt x="318" y="413"/>
                </a:cubicBezTo>
                <a:cubicBezTo>
                  <a:pt x="321" y="405"/>
                  <a:pt x="324" y="396"/>
                  <a:pt x="326" y="387"/>
                </a:cubicBezTo>
                <a:lnTo>
                  <a:pt x="360" y="370"/>
                </a:lnTo>
                <a:close/>
                <a:moveTo>
                  <a:pt x="304" y="371"/>
                </a:moveTo>
                <a:cubicBezTo>
                  <a:pt x="302" y="381"/>
                  <a:pt x="302" y="381"/>
                  <a:pt x="302" y="381"/>
                </a:cubicBezTo>
                <a:cubicBezTo>
                  <a:pt x="301" y="389"/>
                  <a:pt x="299" y="397"/>
                  <a:pt x="295" y="405"/>
                </a:cubicBezTo>
                <a:cubicBezTo>
                  <a:pt x="290" y="414"/>
                  <a:pt x="290" y="414"/>
                  <a:pt x="290" y="414"/>
                </a:cubicBezTo>
                <a:cubicBezTo>
                  <a:pt x="305" y="442"/>
                  <a:pt x="305" y="442"/>
                  <a:pt x="305" y="442"/>
                </a:cubicBezTo>
                <a:cubicBezTo>
                  <a:pt x="277" y="468"/>
                  <a:pt x="277" y="468"/>
                  <a:pt x="277" y="468"/>
                </a:cubicBezTo>
                <a:cubicBezTo>
                  <a:pt x="250" y="451"/>
                  <a:pt x="250" y="451"/>
                  <a:pt x="250" y="451"/>
                </a:cubicBezTo>
                <a:cubicBezTo>
                  <a:pt x="240" y="454"/>
                  <a:pt x="240" y="454"/>
                  <a:pt x="240" y="454"/>
                </a:cubicBezTo>
                <a:cubicBezTo>
                  <a:pt x="236" y="456"/>
                  <a:pt x="232" y="457"/>
                  <a:pt x="229" y="458"/>
                </a:cubicBezTo>
                <a:cubicBezTo>
                  <a:pt x="225" y="459"/>
                  <a:pt x="221" y="459"/>
                  <a:pt x="217" y="460"/>
                </a:cubicBezTo>
                <a:cubicBezTo>
                  <a:pt x="206" y="461"/>
                  <a:pt x="206" y="461"/>
                  <a:pt x="206" y="461"/>
                </a:cubicBezTo>
                <a:cubicBezTo>
                  <a:pt x="190" y="487"/>
                  <a:pt x="190" y="487"/>
                  <a:pt x="190" y="487"/>
                </a:cubicBezTo>
                <a:cubicBezTo>
                  <a:pt x="152" y="476"/>
                  <a:pt x="152" y="476"/>
                  <a:pt x="152" y="476"/>
                </a:cubicBezTo>
                <a:cubicBezTo>
                  <a:pt x="154" y="444"/>
                  <a:pt x="154" y="444"/>
                  <a:pt x="154" y="444"/>
                </a:cubicBezTo>
                <a:cubicBezTo>
                  <a:pt x="146" y="437"/>
                  <a:pt x="146" y="437"/>
                  <a:pt x="146" y="437"/>
                </a:cubicBezTo>
                <a:cubicBezTo>
                  <a:pt x="140" y="432"/>
                  <a:pt x="134" y="426"/>
                  <a:pt x="130" y="419"/>
                </a:cubicBezTo>
                <a:cubicBezTo>
                  <a:pt x="124" y="411"/>
                  <a:pt x="124" y="411"/>
                  <a:pt x="124" y="411"/>
                </a:cubicBezTo>
                <a:cubicBezTo>
                  <a:pt x="92" y="410"/>
                  <a:pt x="92" y="410"/>
                  <a:pt x="92" y="410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112" y="358"/>
                  <a:pt x="112" y="358"/>
                  <a:pt x="112" y="358"/>
                </a:cubicBezTo>
                <a:cubicBezTo>
                  <a:pt x="114" y="347"/>
                  <a:pt x="114" y="347"/>
                  <a:pt x="114" y="347"/>
                </a:cubicBezTo>
                <a:cubicBezTo>
                  <a:pt x="115" y="339"/>
                  <a:pt x="118" y="332"/>
                  <a:pt x="121" y="324"/>
                </a:cubicBezTo>
                <a:cubicBezTo>
                  <a:pt x="126" y="314"/>
                  <a:pt x="126" y="314"/>
                  <a:pt x="126" y="314"/>
                </a:cubicBezTo>
                <a:cubicBezTo>
                  <a:pt x="111" y="287"/>
                  <a:pt x="111" y="287"/>
                  <a:pt x="111" y="287"/>
                </a:cubicBezTo>
                <a:cubicBezTo>
                  <a:pt x="140" y="260"/>
                  <a:pt x="140" y="260"/>
                  <a:pt x="140" y="260"/>
                </a:cubicBezTo>
                <a:cubicBezTo>
                  <a:pt x="166" y="278"/>
                  <a:pt x="166" y="278"/>
                  <a:pt x="166" y="278"/>
                </a:cubicBezTo>
                <a:cubicBezTo>
                  <a:pt x="176" y="274"/>
                  <a:pt x="176" y="274"/>
                  <a:pt x="176" y="274"/>
                </a:cubicBezTo>
                <a:cubicBezTo>
                  <a:pt x="180" y="273"/>
                  <a:pt x="184" y="271"/>
                  <a:pt x="188" y="271"/>
                </a:cubicBezTo>
                <a:cubicBezTo>
                  <a:pt x="191" y="270"/>
                  <a:pt x="195" y="269"/>
                  <a:pt x="200" y="269"/>
                </a:cubicBezTo>
                <a:cubicBezTo>
                  <a:pt x="210" y="268"/>
                  <a:pt x="210" y="268"/>
                  <a:pt x="210" y="268"/>
                </a:cubicBezTo>
                <a:cubicBezTo>
                  <a:pt x="227" y="241"/>
                  <a:pt x="227" y="241"/>
                  <a:pt x="227" y="241"/>
                </a:cubicBezTo>
                <a:cubicBezTo>
                  <a:pt x="264" y="253"/>
                  <a:pt x="264" y="253"/>
                  <a:pt x="264" y="253"/>
                </a:cubicBezTo>
                <a:cubicBezTo>
                  <a:pt x="262" y="284"/>
                  <a:pt x="262" y="284"/>
                  <a:pt x="262" y="284"/>
                </a:cubicBezTo>
                <a:cubicBezTo>
                  <a:pt x="270" y="291"/>
                  <a:pt x="270" y="291"/>
                  <a:pt x="270" y="291"/>
                </a:cubicBezTo>
                <a:cubicBezTo>
                  <a:pt x="277" y="297"/>
                  <a:pt x="282" y="303"/>
                  <a:pt x="287" y="309"/>
                </a:cubicBezTo>
                <a:cubicBezTo>
                  <a:pt x="293" y="318"/>
                  <a:pt x="293" y="318"/>
                  <a:pt x="293" y="318"/>
                </a:cubicBezTo>
                <a:cubicBezTo>
                  <a:pt x="324" y="319"/>
                  <a:pt x="324" y="319"/>
                  <a:pt x="324" y="319"/>
                </a:cubicBezTo>
                <a:cubicBezTo>
                  <a:pt x="332" y="357"/>
                  <a:pt x="332" y="357"/>
                  <a:pt x="332" y="357"/>
                </a:cubicBezTo>
                <a:lnTo>
                  <a:pt x="304" y="371"/>
                </a:lnTo>
                <a:close/>
                <a:moveTo>
                  <a:pt x="497" y="170"/>
                </a:moveTo>
                <a:cubicBezTo>
                  <a:pt x="497" y="167"/>
                  <a:pt x="496" y="164"/>
                  <a:pt x="496" y="161"/>
                </a:cubicBezTo>
                <a:cubicBezTo>
                  <a:pt x="495" y="159"/>
                  <a:pt x="494" y="156"/>
                  <a:pt x="493" y="153"/>
                </a:cubicBezTo>
                <a:cubicBezTo>
                  <a:pt x="509" y="130"/>
                  <a:pt x="509" y="130"/>
                  <a:pt x="509" y="130"/>
                </a:cubicBezTo>
                <a:cubicBezTo>
                  <a:pt x="468" y="85"/>
                  <a:pt x="468" y="85"/>
                  <a:pt x="468" y="85"/>
                </a:cubicBezTo>
                <a:cubicBezTo>
                  <a:pt x="444" y="99"/>
                  <a:pt x="444" y="99"/>
                  <a:pt x="444" y="99"/>
                </a:cubicBezTo>
                <a:cubicBezTo>
                  <a:pt x="438" y="97"/>
                  <a:pt x="433" y="95"/>
                  <a:pt x="428" y="94"/>
                </a:cubicBezTo>
                <a:cubicBezTo>
                  <a:pt x="416" y="69"/>
                  <a:pt x="416" y="69"/>
                  <a:pt x="416" y="69"/>
                </a:cubicBezTo>
                <a:cubicBezTo>
                  <a:pt x="356" y="82"/>
                  <a:pt x="356" y="82"/>
                  <a:pt x="356" y="82"/>
                </a:cubicBezTo>
                <a:cubicBezTo>
                  <a:pt x="356" y="110"/>
                  <a:pt x="356" y="110"/>
                  <a:pt x="356" y="110"/>
                </a:cubicBezTo>
                <a:cubicBezTo>
                  <a:pt x="351" y="113"/>
                  <a:pt x="347" y="117"/>
                  <a:pt x="343" y="121"/>
                </a:cubicBezTo>
                <a:cubicBezTo>
                  <a:pt x="315" y="119"/>
                  <a:pt x="315" y="119"/>
                  <a:pt x="315" y="119"/>
                </a:cubicBezTo>
                <a:cubicBezTo>
                  <a:pt x="297" y="177"/>
                  <a:pt x="297" y="177"/>
                  <a:pt x="297" y="177"/>
                </a:cubicBezTo>
                <a:cubicBezTo>
                  <a:pt x="321" y="191"/>
                  <a:pt x="321" y="191"/>
                  <a:pt x="321" y="191"/>
                </a:cubicBezTo>
                <a:cubicBezTo>
                  <a:pt x="321" y="194"/>
                  <a:pt x="322" y="197"/>
                  <a:pt x="322" y="199"/>
                </a:cubicBezTo>
                <a:cubicBezTo>
                  <a:pt x="323" y="202"/>
                  <a:pt x="324" y="205"/>
                  <a:pt x="325" y="208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50" y="275"/>
                  <a:pt x="350" y="275"/>
                  <a:pt x="350" y="275"/>
                </a:cubicBezTo>
                <a:cubicBezTo>
                  <a:pt x="374" y="262"/>
                  <a:pt x="374" y="262"/>
                  <a:pt x="374" y="262"/>
                </a:cubicBezTo>
                <a:cubicBezTo>
                  <a:pt x="380" y="264"/>
                  <a:pt x="385" y="266"/>
                  <a:pt x="390" y="267"/>
                </a:cubicBezTo>
                <a:cubicBezTo>
                  <a:pt x="403" y="292"/>
                  <a:pt x="403" y="292"/>
                  <a:pt x="403" y="292"/>
                </a:cubicBezTo>
                <a:cubicBezTo>
                  <a:pt x="462" y="279"/>
                  <a:pt x="462" y="279"/>
                  <a:pt x="462" y="279"/>
                </a:cubicBezTo>
                <a:cubicBezTo>
                  <a:pt x="462" y="251"/>
                  <a:pt x="462" y="251"/>
                  <a:pt x="462" y="251"/>
                </a:cubicBezTo>
                <a:cubicBezTo>
                  <a:pt x="467" y="248"/>
                  <a:pt x="471" y="244"/>
                  <a:pt x="475" y="240"/>
                </a:cubicBezTo>
                <a:cubicBezTo>
                  <a:pt x="503" y="242"/>
                  <a:pt x="503" y="242"/>
                  <a:pt x="503" y="242"/>
                </a:cubicBezTo>
                <a:cubicBezTo>
                  <a:pt x="521" y="184"/>
                  <a:pt x="521" y="184"/>
                  <a:pt x="521" y="184"/>
                </a:cubicBezTo>
                <a:lnTo>
                  <a:pt x="497" y="170"/>
                </a:lnTo>
                <a:close/>
                <a:moveTo>
                  <a:pt x="352" y="211"/>
                </a:moveTo>
                <a:cubicBezTo>
                  <a:pt x="349" y="202"/>
                  <a:pt x="349" y="202"/>
                  <a:pt x="349" y="202"/>
                </a:cubicBezTo>
                <a:cubicBezTo>
                  <a:pt x="348" y="199"/>
                  <a:pt x="347" y="197"/>
                  <a:pt x="346" y="194"/>
                </a:cubicBezTo>
                <a:cubicBezTo>
                  <a:pt x="346" y="192"/>
                  <a:pt x="346" y="189"/>
                  <a:pt x="345" y="186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26" y="166"/>
                  <a:pt x="326" y="166"/>
                  <a:pt x="326" y="166"/>
                </a:cubicBezTo>
                <a:cubicBezTo>
                  <a:pt x="333" y="145"/>
                  <a:pt x="333" y="145"/>
                  <a:pt x="333" y="145"/>
                </a:cubicBezTo>
                <a:cubicBezTo>
                  <a:pt x="354" y="146"/>
                  <a:pt x="354" y="146"/>
                  <a:pt x="354" y="146"/>
                </a:cubicBezTo>
                <a:cubicBezTo>
                  <a:pt x="360" y="139"/>
                  <a:pt x="360" y="139"/>
                  <a:pt x="360" y="139"/>
                </a:cubicBezTo>
                <a:cubicBezTo>
                  <a:pt x="364" y="135"/>
                  <a:pt x="368" y="131"/>
                  <a:pt x="372" y="128"/>
                </a:cubicBezTo>
                <a:cubicBezTo>
                  <a:pt x="380" y="123"/>
                  <a:pt x="380" y="123"/>
                  <a:pt x="380" y="123"/>
                </a:cubicBezTo>
                <a:cubicBezTo>
                  <a:pt x="381" y="102"/>
                  <a:pt x="381" y="102"/>
                  <a:pt x="381" y="102"/>
                </a:cubicBezTo>
                <a:cubicBezTo>
                  <a:pt x="402" y="97"/>
                  <a:pt x="402" y="97"/>
                  <a:pt x="402" y="97"/>
                </a:cubicBezTo>
                <a:cubicBezTo>
                  <a:pt x="411" y="116"/>
                  <a:pt x="411" y="116"/>
                  <a:pt x="411" y="116"/>
                </a:cubicBezTo>
                <a:cubicBezTo>
                  <a:pt x="420" y="117"/>
                  <a:pt x="420" y="117"/>
                  <a:pt x="420" y="117"/>
                </a:cubicBezTo>
                <a:cubicBezTo>
                  <a:pt x="426" y="118"/>
                  <a:pt x="431" y="120"/>
                  <a:pt x="436" y="123"/>
                </a:cubicBezTo>
                <a:cubicBezTo>
                  <a:pt x="444" y="126"/>
                  <a:pt x="444" y="126"/>
                  <a:pt x="444" y="12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78" y="132"/>
                  <a:pt x="478" y="132"/>
                  <a:pt x="478" y="132"/>
                </a:cubicBezTo>
                <a:cubicBezTo>
                  <a:pt x="466" y="150"/>
                  <a:pt x="466" y="150"/>
                  <a:pt x="466" y="150"/>
                </a:cubicBezTo>
                <a:cubicBezTo>
                  <a:pt x="469" y="159"/>
                  <a:pt x="469" y="159"/>
                  <a:pt x="469" y="159"/>
                </a:cubicBezTo>
                <a:cubicBezTo>
                  <a:pt x="470" y="162"/>
                  <a:pt x="471" y="164"/>
                  <a:pt x="472" y="167"/>
                </a:cubicBezTo>
                <a:cubicBezTo>
                  <a:pt x="472" y="169"/>
                  <a:pt x="472" y="172"/>
                  <a:pt x="473" y="175"/>
                </a:cubicBezTo>
                <a:cubicBezTo>
                  <a:pt x="474" y="184"/>
                  <a:pt x="474" y="184"/>
                  <a:pt x="474" y="184"/>
                </a:cubicBezTo>
                <a:cubicBezTo>
                  <a:pt x="492" y="195"/>
                  <a:pt x="492" y="195"/>
                  <a:pt x="492" y="195"/>
                </a:cubicBezTo>
                <a:cubicBezTo>
                  <a:pt x="485" y="216"/>
                  <a:pt x="485" y="216"/>
                  <a:pt x="485" y="216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58" y="222"/>
                  <a:pt x="458" y="222"/>
                  <a:pt x="458" y="222"/>
                </a:cubicBezTo>
                <a:cubicBezTo>
                  <a:pt x="454" y="226"/>
                  <a:pt x="450" y="230"/>
                  <a:pt x="446" y="233"/>
                </a:cubicBezTo>
                <a:cubicBezTo>
                  <a:pt x="438" y="238"/>
                  <a:pt x="438" y="238"/>
                  <a:pt x="438" y="238"/>
                </a:cubicBezTo>
                <a:cubicBezTo>
                  <a:pt x="437" y="259"/>
                  <a:pt x="437" y="259"/>
                  <a:pt x="437" y="259"/>
                </a:cubicBezTo>
                <a:cubicBezTo>
                  <a:pt x="416" y="264"/>
                  <a:pt x="416" y="264"/>
                  <a:pt x="416" y="264"/>
                </a:cubicBezTo>
                <a:cubicBezTo>
                  <a:pt x="407" y="245"/>
                  <a:pt x="407" y="245"/>
                  <a:pt x="407" y="245"/>
                </a:cubicBezTo>
                <a:cubicBezTo>
                  <a:pt x="398" y="243"/>
                  <a:pt x="398" y="243"/>
                  <a:pt x="398" y="243"/>
                </a:cubicBezTo>
                <a:cubicBezTo>
                  <a:pt x="392" y="243"/>
                  <a:pt x="387" y="241"/>
                  <a:pt x="382" y="238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55" y="245"/>
                  <a:pt x="355" y="245"/>
                  <a:pt x="355" y="245"/>
                </a:cubicBezTo>
                <a:cubicBezTo>
                  <a:pt x="340" y="229"/>
                  <a:pt x="340" y="229"/>
                  <a:pt x="340" y="229"/>
                </a:cubicBezTo>
                <a:lnTo>
                  <a:pt x="352" y="211"/>
                </a:lnTo>
                <a:close/>
                <a:moveTo>
                  <a:pt x="389" y="212"/>
                </a:moveTo>
                <a:cubicBezTo>
                  <a:pt x="395" y="216"/>
                  <a:pt x="402" y="218"/>
                  <a:pt x="409" y="218"/>
                </a:cubicBezTo>
                <a:cubicBezTo>
                  <a:pt x="412" y="218"/>
                  <a:pt x="414" y="218"/>
                  <a:pt x="417" y="217"/>
                </a:cubicBezTo>
                <a:cubicBezTo>
                  <a:pt x="437" y="213"/>
                  <a:pt x="450" y="193"/>
                  <a:pt x="446" y="172"/>
                </a:cubicBezTo>
                <a:cubicBezTo>
                  <a:pt x="446" y="172"/>
                  <a:pt x="446" y="172"/>
                  <a:pt x="446" y="172"/>
                </a:cubicBezTo>
                <a:cubicBezTo>
                  <a:pt x="441" y="152"/>
                  <a:pt x="421" y="139"/>
                  <a:pt x="401" y="144"/>
                </a:cubicBezTo>
                <a:cubicBezTo>
                  <a:pt x="391" y="146"/>
                  <a:pt x="383" y="152"/>
                  <a:pt x="377" y="160"/>
                </a:cubicBezTo>
                <a:cubicBezTo>
                  <a:pt x="372" y="169"/>
                  <a:pt x="370" y="179"/>
                  <a:pt x="372" y="189"/>
                </a:cubicBezTo>
                <a:cubicBezTo>
                  <a:pt x="374" y="198"/>
                  <a:pt x="380" y="207"/>
                  <a:pt x="389" y="212"/>
                </a:cubicBezTo>
                <a:close/>
                <a:moveTo>
                  <a:pt x="398" y="173"/>
                </a:moveTo>
                <a:cubicBezTo>
                  <a:pt x="400" y="170"/>
                  <a:pt x="403" y="168"/>
                  <a:pt x="406" y="168"/>
                </a:cubicBezTo>
                <a:cubicBezTo>
                  <a:pt x="407" y="167"/>
                  <a:pt x="408" y="167"/>
                  <a:pt x="409" y="167"/>
                </a:cubicBezTo>
                <a:cubicBezTo>
                  <a:pt x="415" y="167"/>
                  <a:pt x="420" y="172"/>
                  <a:pt x="422" y="178"/>
                </a:cubicBezTo>
                <a:cubicBezTo>
                  <a:pt x="423" y="181"/>
                  <a:pt x="422" y="185"/>
                  <a:pt x="420" y="188"/>
                </a:cubicBezTo>
                <a:cubicBezTo>
                  <a:pt x="418" y="190"/>
                  <a:pt x="415" y="193"/>
                  <a:pt x="412" y="193"/>
                </a:cubicBezTo>
                <a:cubicBezTo>
                  <a:pt x="405" y="195"/>
                  <a:pt x="398" y="190"/>
                  <a:pt x="396" y="183"/>
                </a:cubicBezTo>
                <a:cubicBezTo>
                  <a:pt x="395" y="180"/>
                  <a:pt x="396" y="176"/>
                  <a:pt x="398" y="173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endParaRPr sz="1867" b="1" dirty="0"/>
          </a:p>
        </p:txBody>
      </p:sp>
      <p:sp>
        <p:nvSpPr>
          <p:cNvPr id="304" name="Freeform 80">
            <a:extLst>
              <a:ext uri="{FF2B5EF4-FFF2-40B4-BE49-F238E27FC236}">
                <a16:creationId xmlns:a16="http://schemas.microsoft.com/office/drawing/2014/main" id="{06E0538C-BB8B-4ABF-B7BE-44F925DA33AF}"/>
              </a:ext>
            </a:extLst>
          </p:cNvPr>
          <p:cNvSpPr>
            <a:spLocks/>
          </p:cNvSpPr>
          <p:nvPr/>
        </p:nvSpPr>
        <p:spPr bwMode="auto">
          <a:xfrm>
            <a:off x="3826572" y="3420116"/>
            <a:ext cx="324238" cy="719293"/>
          </a:xfrm>
          <a:custGeom>
            <a:avLst/>
            <a:gdLst>
              <a:gd name="T0" fmla="*/ 4 w 139"/>
              <a:gd name="T1" fmla="*/ 301 h 301"/>
              <a:gd name="T2" fmla="*/ 0 w 139"/>
              <a:gd name="T3" fmla="*/ 291 h 301"/>
              <a:gd name="T4" fmla="*/ 0 w 139"/>
              <a:gd name="T5" fmla="*/ 285 h 301"/>
              <a:gd name="T6" fmla="*/ 3 w 139"/>
              <a:gd name="T7" fmla="*/ 275 h 301"/>
              <a:gd name="T8" fmla="*/ 3 w 139"/>
              <a:gd name="T9" fmla="*/ 267 h 301"/>
              <a:gd name="T10" fmla="*/ 1 w 139"/>
              <a:gd name="T11" fmla="*/ 264 h 301"/>
              <a:gd name="T12" fmla="*/ 0 w 139"/>
              <a:gd name="T13" fmla="*/ 256 h 301"/>
              <a:gd name="T14" fmla="*/ 3 w 139"/>
              <a:gd name="T15" fmla="*/ 251 h 301"/>
              <a:gd name="T16" fmla="*/ 7 w 139"/>
              <a:gd name="T17" fmla="*/ 239 h 301"/>
              <a:gd name="T18" fmla="*/ 7 w 139"/>
              <a:gd name="T19" fmla="*/ 236 h 301"/>
              <a:gd name="T20" fmla="*/ 6 w 139"/>
              <a:gd name="T21" fmla="*/ 230 h 301"/>
              <a:gd name="T22" fmla="*/ 7 w 139"/>
              <a:gd name="T23" fmla="*/ 227 h 301"/>
              <a:gd name="T24" fmla="*/ 12 w 139"/>
              <a:gd name="T25" fmla="*/ 224 h 301"/>
              <a:gd name="T26" fmla="*/ 12 w 139"/>
              <a:gd name="T27" fmla="*/ 221 h 301"/>
              <a:gd name="T28" fmla="*/ 9 w 139"/>
              <a:gd name="T29" fmla="*/ 214 h 301"/>
              <a:gd name="T30" fmla="*/ 11 w 139"/>
              <a:gd name="T31" fmla="*/ 211 h 301"/>
              <a:gd name="T32" fmla="*/ 14 w 139"/>
              <a:gd name="T33" fmla="*/ 207 h 301"/>
              <a:gd name="T34" fmla="*/ 15 w 139"/>
              <a:gd name="T35" fmla="*/ 201 h 301"/>
              <a:gd name="T36" fmla="*/ 14 w 139"/>
              <a:gd name="T37" fmla="*/ 194 h 301"/>
              <a:gd name="T38" fmla="*/ 14 w 139"/>
              <a:gd name="T39" fmla="*/ 191 h 301"/>
              <a:gd name="T40" fmla="*/ 15 w 139"/>
              <a:gd name="T41" fmla="*/ 176 h 301"/>
              <a:gd name="T42" fmla="*/ 17 w 139"/>
              <a:gd name="T43" fmla="*/ 160 h 301"/>
              <a:gd name="T44" fmla="*/ 20 w 139"/>
              <a:gd name="T45" fmla="*/ 143 h 301"/>
              <a:gd name="T46" fmla="*/ 28 w 139"/>
              <a:gd name="T47" fmla="*/ 79 h 301"/>
              <a:gd name="T48" fmla="*/ 32 w 139"/>
              <a:gd name="T49" fmla="*/ 62 h 301"/>
              <a:gd name="T50" fmla="*/ 35 w 139"/>
              <a:gd name="T51" fmla="*/ 49 h 301"/>
              <a:gd name="T52" fmla="*/ 38 w 139"/>
              <a:gd name="T53" fmla="*/ 46 h 301"/>
              <a:gd name="T54" fmla="*/ 40 w 139"/>
              <a:gd name="T55" fmla="*/ 43 h 301"/>
              <a:gd name="T56" fmla="*/ 38 w 139"/>
              <a:gd name="T57" fmla="*/ 36 h 301"/>
              <a:gd name="T58" fmla="*/ 40 w 139"/>
              <a:gd name="T59" fmla="*/ 29 h 301"/>
              <a:gd name="T60" fmla="*/ 38 w 139"/>
              <a:gd name="T61" fmla="*/ 25 h 301"/>
              <a:gd name="T62" fmla="*/ 41 w 139"/>
              <a:gd name="T63" fmla="*/ 19 h 301"/>
              <a:gd name="T64" fmla="*/ 44 w 139"/>
              <a:gd name="T65" fmla="*/ 17 h 301"/>
              <a:gd name="T66" fmla="*/ 44 w 139"/>
              <a:gd name="T67" fmla="*/ 17 h 301"/>
              <a:gd name="T68" fmla="*/ 44 w 139"/>
              <a:gd name="T69" fmla="*/ 23 h 301"/>
              <a:gd name="T70" fmla="*/ 48 w 139"/>
              <a:gd name="T71" fmla="*/ 25 h 301"/>
              <a:gd name="T72" fmla="*/ 55 w 139"/>
              <a:gd name="T73" fmla="*/ 28 h 301"/>
              <a:gd name="T74" fmla="*/ 65 w 139"/>
              <a:gd name="T75" fmla="*/ 25 h 301"/>
              <a:gd name="T76" fmla="*/ 88 w 139"/>
              <a:gd name="T77" fmla="*/ 12 h 301"/>
              <a:gd name="T78" fmla="*/ 97 w 139"/>
              <a:gd name="T79" fmla="*/ 6 h 301"/>
              <a:gd name="T80" fmla="*/ 105 w 139"/>
              <a:gd name="T81" fmla="*/ 0 h 301"/>
              <a:gd name="T82" fmla="*/ 105 w 139"/>
              <a:gd name="T83" fmla="*/ 3 h 301"/>
              <a:gd name="T84" fmla="*/ 103 w 139"/>
              <a:gd name="T85" fmla="*/ 12 h 301"/>
              <a:gd name="T86" fmla="*/ 98 w 139"/>
              <a:gd name="T87" fmla="*/ 26 h 301"/>
              <a:gd name="T88" fmla="*/ 95 w 139"/>
              <a:gd name="T89" fmla="*/ 40 h 301"/>
              <a:gd name="T90" fmla="*/ 94 w 139"/>
              <a:gd name="T91" fmla="*/ 88 h 301"/>
              <a:gd name="T92" fmla="*/ 92 w 139"/>
              <a:gd name="T93" fmla="*/ 96 h 301"/>
              <a:gd name="T94" fmla="*/ 97 w 139"/>
              <a:gd name="T95" fmla="*/ 108 h 301"/>
              <a:gd name="T96" fmla="*/ 112 w 139"/>
              <a:gd name="T97" fmla="*/ 128 h 301"/>
              <a:gd name="T98" fmla="*/ 122 w 139"/>
              <a:gd name="T99" fmla="*/ 147 h 301"/>
              <a:gd name="T100" fmla="*/ 128 w 139"/>
              <a:gd name="T101" fmla="*/ 168 h 301"/>
              <a:gd name="T102" fmla="*/ 132 w 139"/>
              <a:gd name="T103" fmla="*/ 188 h 301"/>
              <a:gd name="T104" fmla="*/ 135 w 139"/>
              <a:gd name="T105" fmla="*/ 242 h 301"/>
              <a:gd name="T106" fmla="*/ 139 w 139"/>
              <a:gd name="T107" fmla="*/ 287 h 301"/>
              <a:gd name="T108" fmla="*/ 105 w 139"/>
              <a:gd name="T109" fmla="*/ 288 h 301"/>
              <a:gd name="T110" fmla="*/ 38 w 139"/>
              <a:gd name="T111" fmla="*/ 296 h 301"/>
              <a:gd name="T112" fmla="*/ 9 w 139"/>
              <a:gd name="T113" fmla="*/ 298 h 301"/>
              <a:gd name="T114" fmla="*/ 4 w 139"/>
              <a:gd name="T115" fmla="*/ 301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9" h="301">
                <a:moveTo>
                  <a:pt x="4" y="301"/>
                </a:moveTo>
                <a:lnTo>
                  <a:pt x="4" y="301"/>
                </a:lnTo>
                <a:lnTo>
                  <a:pt x="1" y="296"/>
                </a:lnTo>
                <a:lnTo>
                  <a:pt x="0" y="291"/>
                </a:lnTo>
                <a:lnTo>
                  <a:pt x="0" y="285"/>
                </a:lnTo>
                <a:lnTo>
                  <a:pt x="0" y="285"/>
                </a:lnTo>
                <a:lnTo>
                  <a:pt x="1" y="279"/>
                </a:lnTo>
                <a:lnTo>
                  <a:pt x="3" y="275"/>
                </a:lnTo>
                <a:lnTo>
                  <a:pt x="4" y="270"/>
                </a:lnTo>
                <a:lnTo>
                  <a:pt x="3" y="267"/>
                </a:lnTo>
                <a:lnTo>
                  <a:pt x="3" y="267"/>
                </a:lnTo>
                <a:lnTo>
                  <a:pt x="1" y="264"/>
                </a:lnTo>
                <a:lnTo>
                  <a:pt x="0" y="259"/>
                </a:lnTo>
                <a:lnTo>
                  <a:pt x="0" y="256"/>
                </a:lnTo>
                <a:lnTo>
                  <a:pt x="3" y="251"/>
                </a:lnTo>
                <a:lnTo>
                  <a:pt x="3" y="251"/>
                </a:lnTo>
                <a:lnTo>
                  <a:pt x="6" y="242"/>
                </a:lnTo>
                <a:lnTo>
                  <a:pt x="7" y="239"/>
                </a:lnTo>
                <a:lnTo>
                  <a:pt x="7" y="236"/>
                </a:lnTo>
                <a:lnTo>
                  <a:pt x="7" y="236"/>
                </a:lnTo>
                <a:lnTo>
                  <a:pt x="6" y="233"/>
                </a:lnTo>
                <a:lnTo>
                  <a:pt x="6" y="230"/>
                </a:lnTo>
                <a:lnTo>
                  <a:pt x="6" y="230"/>
                </a:lnTo>
                <a:lnTo>
                  <a:pt x="7" y="227"/>
                </a:lnTo>
                <a:lnTo>
                  <a:pt x="11" y="225"/>
                </a:lnTo>
                <a:lnTo>
                  <a:pt x="12" y="224"/>
                </a:lnTo>
                <a:lnTo>
                  <a:pt x="12" y="221"/>
                </a:lnTo>
                <a:lnTo>
                  <a:pt x="12" y="221"/>
                </a:lnTo>
                <a:lnTo>
                  <a:pt x="9" y="216"/>
                </a:lnTo>
                <a:lnTo>
                  <a:pt x="9" y="214"/>
                </a:lnTo>
                <a:lnTo>
                  <a:pt x="11" y="211"/>
                </a:lnTo>
                <a:lnTo>
                  <a:pt x="11" y="211"/>
                </a:lnTo>
                <a:lnTo>
                  <a:pt x="12" y="208"/>
                </a:lnTo>
                <a:lnTo>
                  <a:pt x="14" y="207"/>
                </a:lnTo>
                <a:lnTo>
                  <a:pt x="15" y="205"/>
                </a:lnTo>
                <a:lnTo>
                  <a:pt x="15" y="201"/>
                </a:lnTo>
                <a:lnTo>
                  <a:pt x="15" y="201"/>
                </a:lnTo>
                <a:lnTo>
                  <a:pt x="14" y="194"/>
                </a:lnTo>
                <a:lnTo>
                  <a:pt x="14" y="191"/>
                </a:lnTo>
                <a:lnTo>
                  <a:pt x="14" y="191"/>
                </a:lnTo>
                <a:lnTo>
                  <a:pt x="15" y="185"/>
                </a:lnTo>
                <a:lnTo>
                  <a:pt x="15" y="176"/>
                </a:lnTo>
                <a:lnTo>
                  <a:pt x="15" y="176"/>
                </a:lnTo>
                <a:lnTo>
                  <a:pt x="17" y="160"/>
                </a:lnTo>
                <a:lnTo>
                  <a:pt x="20" y="143"/>
                </a:lnTo>
                <a:lnTo>
                  <a:pt x="20" y="143"/>
                </a:lnTo>
                <a:lnTo>
                  <a:pt x="23" y="111"/>
                </a:lnTo>
                <a:lnTo>
                  <a:pt x="28" y="79"/>
                </a:lnTo>
                <a:lnTo>
                  <a:pt x="28" y="79"/>
                </a:lnTo>
                <a:lnTo>
                  <a:pt x="32" y="62"/>
                </a:lnTo>
                <a:lnTo>
                  <a:pt x="34" y="54"/>
                </a:lnTo>
                <a:lnTo>
                  <a:pt x="35" y="49"/>
                </a:lnTo>
                <a:lnTo>
                  <a:pt x="35" y="49"/>
                </a:lnTo>
                <a:lnTo>
                  <a:pt x="38" y="46"/>
                </a:lnTo>
                <a:lnTo>
                  <a:pt x="40" y="43"/>
                </a:lnTo>
                <a:lnTo>
                  <a:pt x="40" y="43"/>
                </a:lnTo>
                <a:lnTo>
                  <a:pt x="38" y="40"/>
                </a:lnTo>
                <a:lnTo>
                  <a:pt x="38" y="36"/>
                </a:lnTo>
                <a:lnTo>
                  <a:pt x="38" y="36"/>
                </a:lnTo>
                <a:lnTo>
                  <a:pt x="40" y="29"/>
                </a:lnTo>
                <a:lnTo>
                  <a:pt x="38" y="25"/>
                </a:lnTo>
                <a:lnTo>
                  <a:pt x="38" y="25"/>
                </a:lnTo>
                <a:lnTo>
                  <a:pt x="40" y="20"/>
                </a:lnTo>
                <a:lnTo>
                  <a:pt x="41" y="19"/>
                </a:lnTo>
                <a:lnTo>
                  <a:pt x="44" y="17"/>
                </a:lnTo>
                <a:lnTo>
                  <a:pt x="44" y="17"/>
                </a:lnTo>
                <a:lnTo>
                  <a:pt x="44" y="17"/>
                </a:lnTo>
                <a:lnTo>
                  <a:pt x="44" y="17"/>
                </a:lnTo>
                <a:lnTo>
                  <a:pt x="43" y="22"/>
                </a:lnTo>
                <a:lnTo>
                  <a:pt x="44" y="23"/>
                </a:lnTo>
                <a:lnTo>
                  <a:pt x="48" y="25"/>
                </a:lnTo>
                <a:lnTo>
                  <a:pt x="48" y="25"/>
                </a:lnTo>
                <a:lnTo>
                  <a:pt x="51" y="28"/>
                </a:lnTo>
                <a:lnTo>
                  <a:pt x="55" y="28"/>
                </a:lnTo>
                <a:lnTo>
                  <a:pt x="60" y="28"/>
                </a:lnTo>
                <a:lnTo>
                  <a:pt x="65" y="25"/>
                </a:lnTo>
                <a:lnTo>
                  <a:pt x="65" y="25"/>
                </a:lnTo>
                <a:lnTo>
                  <a:pt x="88" y="12"/>
                </a:lnTo>
                <a:lnTo>
                  <a:pt x="88" y="12"/>
                </a:lnTo>
                <a:lnTo>
                  <a:pt x="97" y="6"/>
                </a:lnTo>
                <a:lnTo>
                  <a:pt x="102" y="3"/>
                </a:lnTo>
                <a:lnTo>
                  <a:pt x="105" y="0"/>
                </a:lnTo>
                <a:lnTo>
                  <a:pt x="105" y="0"/>
                </a:lnTo>
                <a:lnTo>
                  <a:pt x="105" y="3"/>
                </a:lnTo>
                <a:lnTo>
                  <a:pt x="105" y="6"/>
                </a:lnTo>
                <a:lnTo>
                  <a:pt x="103" y="12"/>
                </a:lnTo>
                <a:lnTo>
                  <a:pt x="103" y="12"/>
                </a:lnTo>
                <a:lnTo>
                  <a:pt x="98" y="26"/>
                </a:lnTo>
                <a:lnTo>
                  <a:pt x="97" y="33"/>
                </a:lnTo>
                <a:lnTo>
                  <a:pt x="95" y="40"/>
                </a:lnTo>
                <a:lnTo>
                  <a:pt x="95" y="40"/>
                </a:lnTo>
                <a:lnTo>
                  <a:pt x="94" y="88"/>
                </a:lnTo>
                <a:lnTo>
                  <a:pt x="94" y="88"/>
                </a:lnTo>
                <a:lnTo>
                  <a:pt x="92" y="96"/>
                </a:lnTo>
                <a:lnTo>
                  <a:pt x="92" y="102"/>
                </a:lnTo>
                <a:lnTo>
                  <a:pt x="97" y="108"/>
                </a:lnTo>
                <a:lnTo>
                  <a:pt x="97" y="108"/>
                </a:lnTo>
                <a:lnTo>
                  <a:pt x="112" y="128"/>
                </a:lnTo>
                <a:lnTo>
                  <a:pt x="118" y="137"/>
                </a:lnTo>
                <a:lnTo>
                  <a:pt x="122" y="147"/>
                </a:lnTo>
                <a:lnTo>
                  <a:pt x="122" y="147"/>
                </a:lnTo>
                <a:lnTo>
                  <a:pt x="128" y="168"/>
                </a:lnTo>
                <a:lnTo>
                  <a:pt x="131" y="179"/>
                </a:lnTo>
                <a:lnTo>
                  <a:pt x="132" y="188"/>
                </a:lnTo>
                <a:lnTo>
                  <a:pt x="132" y="188"/>
                </a:lnTo>
                <a:lnTo>
                  <a:pt x="135" y="242"/>
                </a:lnTo>
                <a:lnTo>
                  <a:pt x="139" y="287"/>
                </a:lnTo>
                <a:lnTo>
                  <a:pt x="139" y="287"/>
                </a:lnTo>
                <a:lnTo>
                  <a:pt x="105" y="288"/>
                </a:lnTo>
                <a:lnTo>
                  <a:pt x="105" y="288"/>
                </a:lnTo>
                <a:lnTo>
                  <a:pt x="38" y="296"/>
                </a:lnTo>
                <a:lnTo>
                  <a:pt x="38" y="296"/>
                </a:lnTo>
                <a:lnTo>
                  <a:pt x="17" y="298"/>
                </a:lnTo>
                <a:lnTo>
                  <a:pt x="9" y="298"/>
                </a:lnTo>
                <a:lnTo>
                  <a:pt x="6" y="299"/>
                </a:lnTo>
                <a:lnTo>
                  <a:pt x="4" y="301"/>
                </a:lnTo>
                <a:lnTo>
                  <a:pt x="4" y="3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6" name="Freeform 79">
            <a:extLst>
              <a:ext uri="{FF2B5EF4-FFF2-40B4-BE49-F238E27FC236}">
                <a16:creationId xmlns:a16="http://schemas.microsoft.com/office/drawing/2014/main" id="{E65E9570-6E2F-428A-9694-B9F7E5F88667}"/>
              </a:ext>
            </a:extLst>
          </p:cNvPr>
          <p:cNvSpPr>
            <a:spLocks noEditPoints="1"/>
          </p:cNvSpPr>
          <p:nvPr/>
        </p:nvSpPr>
        <p:spPr bwMode="auto">
          <a:xfrm>
            <a:off x="3447948" y="2904755"/>
            <a:ext cx="854448" cy="2272585"/>
          </a:xfrm>
          <a:custGeom>
            <a:avLst/>
            <a:gdLst>
              <a:gd name="T0" fmla="*/ 52 w 333"/>
              <a:gd name="T1" fmla="*/ 892 h 951"/>
              <a:gd name="T2" fmla="*/ 118 w 333"/>
              <a:gd name="T3" fmla="*/ 885 h 951"/>
              <a:gd name="T4" fmla="*/ 126 w 333"/>
              <a:gd name="T5" fmla="*/ 855 h 951"/>
              <a:gd name="T6" fmla="*/ 152 w 333"/>
              <a:gd name="T7" fmla="*/ 703 h 951"/>
              <a:gd name="T8" fmla="*/ 159 w 333"/>
              <a:gd name="T9" fmla="*/ 609 h 951"/>
              <a:gd name="T10" fmla="*/ 180 w 333"/>
              <a:gd name="T11" fmla="*/ 720 h 951"/>
              <a:gd name="T12" fmla="*/ 177 w 333"/>
              <a:gd name="T13" fmla="*/ 818 h 951"/>
              <a:gd name="T14" fmla="*/ 182 w 333"/>
              <a:gd name="T15" fmla="*/ 891 h 951"/>
              <a:gd name="T16" fmla="*/ 188 w 333"/>
              <a:gd name="T17" fmla="*/ 931 h 951"/>
              <a:gd name="T18" fmla="*/ 231 w 333"/>
              <a:gd name="T19" fmla="*/ 949 h 951"/>
              <a:gd name="T20" fmla="*/ 253 w 333"/>
              <a:gd name="T21" fmla="*/ 911 h 951"/>
              <a:gd name="T22" fmla="*/ 254 w 333"/>
              <a:gd name="T23" fmla="*/ 879 h 951"/>
              <a:gd name="T24" fmla="*/ 250 w 333"/>
              <a:gd name="T25" fmla="*/ 726 h 951"/>
              <a:gd name="T26" fmla="*/ 245 w 333"/>
              <a:gd name="T27" fmla="*/ 644 h 951"/>
              <a:gd name="T28" fmla="*/ 250 w 333"/>
              <a:gd name="T29" fmla="*/ 499 h 951"/>
              <a:gd name="T30" fmla="*/ 260 w 333"/>
              <a:gd name="T31" fmla="*/ 442 h 951"/>
              <a:gd name="T32" fmla="*/ 246 w 333"/>
              <a:gd name="T33" fmla="*/ 282 h 951"/>
              <a:gd name="T34" fmla="*/ 250 w 333"/>
              <a:gd name="T35" fmla="*/ 220 h 951"/>
              <a:gd name="T36" fmla="*/ 265 w 333"/>
              <a:gd name="T37" fmla="*/ 191 h 951"/>
              <a:gd name="T38" fmla="*/ 319 w 333"/>
              <a:gd name="T39" fmla="*/ 140 h 951"/>
              <a:gd name="T40" fmla="*/ 327 w 333"/>
              <a:gd name="T41" fmla="*/ 129 h 951"/>
              <a:gd name="T42" fmla="*/ 330 w 333"/>
              <a:gd name="T43" fmla="*/ 114 h 951"/>
              <a:gd name="T44" fmla="*/ 320 w 333"/>
              <a:gd name="T45" fmla="*/ 95 h 951"/>
              <a:gd name="T46" fmla="*/ 311 w 333"/>
              <a:gd name="T47" fmla="*/ 86 h 951"/>
              <a:gd name="T48" fmla="*/ 274 w 333"/>
              <a:gd name="T49" fmla="*/ 55 h 951"/>
              <a:gd name="T50" fmla="*/ 251 w 333"/>
              <a:gd name="T51" fmla="*/ 32 h 951"/>
              <a:gd name="T52" fmla="*/ 226 w 333"/>
              <a:gd name="T53" fmla="*/ 29 h 951"/>
              <a:gd name="T54" fmla="*/ 202 w 333"/>
              <a:gd name="T55" fmla="*/ 1 h 951"/>
              <a:gd name="T56" fmla="*/ 188 w 333"/>
              <a:gd name="T57" fmla="*/ 9 h 951"/>
              <a:gd name="T58" fmla="*/ 131 w 333"/>
              <a:gd name="T59" fmla="*/ 5 h 951"/>
              <a:gd name="T60" fmla="*/ 114 w 333"/>
              <a:gd name="T61" fmla="*/ 32 h 951"/>
              <a:gd name="T62" fmla="*/ 105 w 333"/>
              <a:gd name="T63" fmla="*/ 51 h 951"/>
              <a:gd name="T64" fmla="*/ 100 w 333"/>
              <a:gd name="T65" fmla="*/ 69 h 951"/>
              <a:gd name="T66" fmla="*/ 102 w 333"/>
              <a:gd name="T67" fmla="*/ 86 h 951"/>
              <a:gd name="T68" fmla="*/ 102 w 333"/>
              <a:gd name="T69" fmla="*/ 102 h 951"/>
              <a:gd name="T70" fmla="*/ 106 w 333"/>
              <a:gd name="T71" fmla="*/ 120 h 951"/>
              <a:gd name="T72" fmla="*/ 117 w 333"/>
              <a:gd name="T73" fmla="*/ 137 h 951"/>
              <a:gd name="T74" fmla="*/ 58 w 333"/>
              <a:gd name="T75" fmla="*/ 183 h 951"/>
              <a:gd name="T76" fmla="*/ 49 w 333"/>
              <a:gd name="T77" fmla="*/ 271 h 951"/>
              <a:gd name="T78" fmla="*/ 43 w 333"/>
              <a:gd name="T79" fmla="*/ 299 h 951"/>
              <a:gd name="T80" fmla="*/ 35 w 333"/>
              <a:gd name="T81" fmla="*/ 327 h 951"/>
              <a:gd name="T82" fmla="*/ 34 w 333"/>
              <a:gd name="T83" fmla="*/ 359 h 951"/>
              <a:gd name="T84" fmla="*/ 40 w 333"/>
              <a:gd name="T85" fmla="*/ 402 h 951"/>
              <a:gd name="T86" fmla="*/ 57 w 333"/>
              <a:gd name="T87" fmla="*/ 448 h 951"/>
              <a:gd name="T88" fmla="*/ 58 w 333"/>
              <a:gd name="T89" fmla="*/ 478 h 951"/>
              <a:gd name="T90" fmla="*/ 83 w 333"/>
              <a:gd name="T91" fmla="*/ 637 h 951"/>
              <a:gd name="T92" fmla="*/ 74 w 333"/>
              <a:gd name="T93" fmla="*/ 758 h 951"/>
              <a:gd name="T94" fmla="*/ 52 w 333"/>
              <a:gd name="T95" fmla="*/ 849 h 951"/>
              <a:gd name="T96" fmla="*/ 0 w 333"/>
              <a:gd name="T97" fmla="*/ 885 h 951"/>
              <a:gd name="T98" fmla="*/ 197 w 333"/>
              <a:gd name="T99" fmla="*/ 92 h 951"/>
              <a:gd name="T100" fmla="*/ 209 w 333"/>
              <a:gd name="T101" fmla="*/ 71 h 951"/>
              <a:gd name="T102" fmla="*/ 237 w 333"/>
              <a:gd name="T103" fmla="*/ 79 h 951"/>
              <a:gd name="T104" fmla="*/ 256 w 333"/>
              <a:gd name="T105" fmla="*/ 105 h 951"/>
              <a:gd name="T106" fmla="*/ 268 w 333"/>
              <a:gd name="T107" fmla="*/ 119 h 951"/>
              <a:gd name="T108" fmla="*/ 251 w 333"/>
              <a:gd name="T109" fmla="*/ 112 h 951"/>
              <a:gd name="T110" fmla="*/ 211 w 333"/>
              <a:gd name="T111" fmla="*/ 126 h 951"/>
              <a:gd name="T112" fmla="*/ 183 w 333"/>
              <a:gd name="T113" fmla="*/ 123 h 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3" h="951">
                <a:moveTo>
                  <a:pt x="1" y="894"/>
                </a:moveTo>
                <a:lnTo>
                  <a:pt x="1" y="894"/>
                </a:lnTo>
                <a:lnTo>
                  <a:pt x="3" y="897"/>
                </a:lnTo>
                <a:lnTo>
                  <a:pt x="6" y="899"/>
                </a:lnTo>
                <a:lnTo>
                  <a:pt x="14" y="900"/>
                </a:lnTo>
                <a:lnTo>
                  <a:pt x="23" y="900"/>
                </a:lnTo>
                <a:lnTo>
                  <a:pt x="32" y="899"/>
                </a:lnTo>
                <a:lnTo>
                  <a:pt x="52" y="892"/>
                </a:lnTo>
                <a:lnTo>
                  <a:pt x="66" y="888"/>
                </a:lnTo>
                <a:lnTo>
                  <a:pt x="66" y="888"/>
                </a:lnTo>
                <a:lnTo>
                  <a:pt x="71" y="886"/>
                </a:lnTo>
                <a:lnTo>
                  <a:pt x="77" y="885"/>
                </a:lnTo>
                <a:lnTo>
                  <a:pt x="92" y="886"/>
                </a:lnTo>
                <a:lnTo>
                  <a:pt x="106" y="886"/>
                </a:lnTo>
                <a:lnTo>
                  <a:pt x="112" y="886"/>
                </a:lnTo>
                <a:lnTo>
                  <a:pt x="118" y="885"/>
                </a:lnTo>
                <a:lnTo>
                  <a:pt x="118" y="885"/>
                </a:lnTo>
                <a:lnTo>
                  <a:pt x="122" y="882"/>
                </a:lnTo>
                <a:lnTo>
                  <a:pt x="125" y="877"/>
                </a:lnTo>
                <a:lnTo>
                  <a:pt x="126" y="872"/>
                </a:lnTo>
                <a:lnTo>
                  <a:pt x="126" y="868"/>
                </a:lnTo>
                <a:lnTo>
                  <a:pt x="126" y="859"/>
                </a:lnTo>
                <a:lnTo>
                  <a:pt x="126" y="855"/>
                </a:lnTo>
                <a:lnTo>
                  <a:pt x="126" y="855"/>
                </a:lnTo>
                <a:lnTo>
                  <a:pt x="128" y="843"/>
                </a:lnTo>
                <a:lnTo>
                  <a:pt x="128" y="843"/>
                </a:lnTo>
                <a:lnTo>
                  <a:pt x="134" y="822"/>
                </a:lnTo>
                <a:lnTo>
                  <a:pt x="142" y="791"/>
                </a:lnTo>
                <a:lnTo>
                  <a:pt x="142" y="791"/>
                </a:lnTo>
                <a:lnTo>
                  <a:pt x="149" y="749"/>
                </a:lnTo>
                <a:lnTo>
                  <a:pt x="152" y="724"/>
                </a:lnTo>
                <a:lnTo>
                  <a:pt x="152" y="703"/>
                </a:lnTo>
                <a:lnTo>
                  <a:pt x="152" y="703"/>
                </a:lnTo>
                <a:lnTo>
                  <a:pt x="154" y="686"/>
                </a:lnTo>
                <a:lnTo>
                  <a:pt x="154" y="669"/>
                </a:lnTo>
                <a:lnTo>
                  <a:pt x="155" y="653"/>
                </a:lnTo>
                <a:lnTo>
                  <a:pt x="157" y="641"/>
                </a:lnTo>
                <a:lnTo>
                  <a:pt x="157" y="641"/>
                </a:lnTo>
                <a:lnTo>
                  <a:pt x="157" y="627"/>
                </a:lnTo>
                <a:lnTo>
                  <a:pt x="159" y="609"/>
                </a:lnTo>
                <a:lnTo>
                  <a:pt x="160" y="589"/>
                </a:lnTo>
                <a:lnTo>
                  <a:pt x="160" y="589"/>
                </a:lnTo>
                <a:lnTo>
                  <a:pt x="168" y="627"/>
                </a:lnTo>
                <a:lnTo>
                  <a:pt x="172" y="657"/>
                </a:lnTo>
                <a:lnTo>
                  <a:pt x="176" y="678"/>
                </a:lnTo>
                <a:lnTo>
                  <a:pt x="176" y="678"/>
                </a:lnTo>
                <a:lnTo>
                  <a:pt x="177" y="700"/>
                </a:lnTo>
                <a:lnTo>
                  <a:pt x="180" y="720"/>
                </a:lnTo>
                <a:lnTo>
                  <a:pt x="180" y="720"/>
                </a:lnTo>
                <a:lnTo>
                  <a:pt x="182" y="727"/>
                </a:lnTo>
                <a:lnTo>
                  <a:pt x="182" y="737"/>
                </a:lnTo>
                <a:lnTo>
                  <a:pt x="180" y="761"/>
                </a:lnTo>
                <a:lnTo>
                  <a:pt x="176" y="805"/>
                </a:lnTo>
                <a:lnTo>
                  <a:pt x="176" y="805"/>
                </a:lnTo>
                <a:lnTo>
                  <a:pt x="176" y="811"/>
                </a:lnTo>
                <a:lnTo>
                  <a:pt x="177" y="818"/>
                </a:lnTo>
                <a:lnTo>
                  <a:pt x="180" y="834"/>
                </a:lnTo>
                <a:lnTo>
                  <a:pt x="183" y="848"/>
                </a:lnTo>
                <a:lnTo>
                  <a:pt x="185" y="857"/>
                </a:lnTo>
                <a:lnTo>
                  <a:pt x="185" y="857"/>
                </a:lnTo>
                <a:lnTo>
                  <a:pt x="182" y="875"/>
                </a:lnTo>
                <a:lnTo>
                  <a:pt x="180" y="888"/>
                </a:lnTo>
                <a:lnTo>
                  <a:pt x="180" y="888"/>
                </a:lnTo>
                <a:lnTo>
                  <a:pt x="182" y="891"/>
                </a:lnTo>
                <a:lnTo>
                  <a:pt x="185" y="894"/>
                </a:lnTo>
                <a:lnTo>
                  <a:pt x="191" y="896"/>
                </a:lnTo>
                <a:lnTo>
                  <a:pt x="191" y="896"/>
                </a:lnTo>
                <a:lnTo>
                  <a:pt x="191" y="906"/>
                </a:lnTo>
                <a:lnTo>
                  <a:pt x="191" y="916"/>
                </a:lnTo>
                <a:lnTo>
                  <a:pt x="189" y="926"/>
                </a:lnTo>
                <a:lnTo>
                  <a:pt x="189" y="926"/>
                </a:lnTo>
                <a:lnTo>
                  <a:pt x="188" y="931"/>
                </a:lnTo>
                <a:lnTo>
                  <a:pt x="188" y="936"/>
                </a:lnTo>
                <a:lnTo>
                  <a:pt x="189" y="940"/>
                </a:lnTo>
                <a:lnTo>
                  <a:pt x="192" y="945"/>
                </a:lnTo>
                <a:lnTo>
                  <a:pt x="197" y="949"/>
                </a:lnTo>
                <a:lnTo>
                  <a:pt x="205" y="951"/>
                </a:lnTo>
                <a:lnTo>
                  <a:pt x="217" y="951"/>
                </a:lnTo>
                <a:lnTo>
                  <a:pt x="231" y="949"/>
                </a:lnTo>
                <a:lnTo>
                  <a:pt x="231" y="949"/>
                </a:lnTo>
                <a:lnTo>
                  <a:pt x="239" y="948"/>
                </a:lnTo>
                <a:lnTo>
                  <a:pt x="245" y="945"/>
                </a:lnTo>
                <a:lnTo>
                  <a:pt x="250" y="942"/>
                </a:lnTo>
                <a:lnTo>
                  <a:pt x="253" y="939"/>
                </a:lnTo>
                <a:lnTo>
                  <a:pt x="254" y="934"/>
                </a:lnTo>
                <a:lnTo>
                  <a:pt x="256" y="929"/>
                </a:lnTo>
                <a:lnTo>
                  <a:pt x="254" y="920"/>
                </a:lnTo>
                <a:lnTo>
                  <a:pt x="253" y="911"/>
                </a:lnTo>
                <a:lnTo>
                  <a:pt x="250" y="903"/>
                </a:lnTo>
                <a:lnTo>
                  <a:pt x="245" y="896"/>
                </a:lnTo>
                <a:lnTo>
                  <a:pt x="245" y="896"/>
                </a:lnTo>
                <a:lnTo>
                  <a:pt x="245" y="891"/>
                </a:lnTo>
                <a:lnTo>
                  <a:pt x="245" y="886"/>
                </a:lnTo>
                <a:lnTo>
                  <a:pt x="246" y="885"/>
                </a:lnTo>
                <a:lnTo>
                  <a:pt x="246" y="885"/>
                </a:lnTo>
                <a:lnTo>
                  <a:pt x="254" y="879"/>
                </a:lnTo>
                <a:lnTo>
                  <a:pt x="260" y="872"/>
                </a:lnTo>
                <a:lnTo>
                  <a:pt x="260" y="872"/>
                </a:lnTo>
                <a:lnTo>
                  <a:pt x="257" y="829"/>
                </a:lnTo>
                <a:lnTo>
                  <a:pt x="256" y="794"/>
                </a:lnTo>
                <a:lnTo>
                  <a:pt x="253" y="763"/>
                </a:lnTo>
                <a:lnTo>
                  <a:pt x="253" y="763"/>
                </a:lnTo>
                <a:lnTo>
                  <a:pt x="250" y="743"/>
                </a:lnTo>
                <a:lnTo>
                  <a:pt x="250" y="726"/>
                </a:lnTo>
                <a:lnTo>
                  <a:pt x="250" y="711"/>
                </a:lnTo>
                <a:lnTo>
                  <a:pt x="248" y="697"/>
                </a:lnTo>
                <a:lnTo>
                  <a:pt x="248" y="697"/>
                </a:lnTo>
                <a:lnTo>
                  <a:pt x="246" y="686"/>
                </a:lnTo>
                <a:lnTo>
                  <a:pt x="245" y="678"/>
                </a:lnTo>
                <a:lnTo>
                  <a:pt x="243" y="664"/>
                </a:lnTo>
                <a:lnTo>
                  <a:pt x="243" y="664"/>
                </a:lnTo>
                <a:lnTo>
                  <a:pt x="245" y="644"/>
                </a:lnTo>
                <a:lnTo>
                  <a:pt x="246" y="618"/>
                </a:lnTo>
                <a:lnTo>
                  <a:pt x="246" y="618"/>
                </a:lnTo>
                <a:lnTo>
                  <a:pt x="246" y="589"/>
                </a:lnTo>
                <a:lnTo>
                  <a:pt x="245" y="563"/>
                </a:lnTo>
                <a:lnTo>
                  <a:pt x="245" y="563"/>
                </a:lnTo>
                <a:lnTo>
                  <a:pt x="246" y="532"/>
                </a:lnTo>
                <a:lnTo>
                  <a:pt x="250" y="499"/>
                </a:lnTo>
                <a:lnTo>
                  <a:pt x="250" y="499"/>
                </a:lnTo>
                <a:lnTo>
                  <a:pt x="250" y="478"/>
                </a:lnTo>
                <a:lnTo>
                  <a:pt x="251" y="459"/>
                </a:lnTo>
                <a:lnTo>
                  <a:pt x="251" y="459"/>
                </a:lnTo>
                <a:lnTo>
                  <a:pt x="251" y="453"/>
                </a:lnTo>
                <a:lnTo>
                  <a:pt x="250" y="445"/>
                </a:lnTo>
                <a:lnTo>
                  <a:pt x="250" y="436"/>
                </a:lnTo>
                <a:lnTo>
                  <a:pt x="260" y="442"/>
                </a:lnTo>
                <a:lnTo>
                  <a:pt x="260" y="442"/>
                </a:lnTo>
                <a:lnTo>
                  <a:pt x="256" y="361"/>
                </a:lnTo>
                <a:lnTo>
                  <a:pt x="256" y="361"/>
                </a:lnTo>
                <a:lnTo>
                  <a:pt x="251" y="325"/>
                </a:lnTo>
                <a:lnTo>
                  <a:pt x="246" y="300"/>
                </a:lnTo>
                <a:lnTo>
                  <a:pt x="246" y="300"/>
                </a:lnTo>
                <a:lnTo>
                  <a:pt x="246" y="296"/>
                </a:lnTo>
                <a:lnTo>
                  <a:pt x="246" y="291"/>
                </a:lnTo>
                <a:lnTo>
                  <a:pt x="246" y="282"/>
                </a:lnTo>
                <a:lnTo>
                  <a:pt x="246" y="282"/>
                </a:lnTo>
                <a:lnTo>
                  <a:pt x="243" y="245"/>
                </a:lnTo>
                <a:lnTo>
                  <a:pt x="243" y="245"/>
                </a:lnTo>
                <a:lnTo>
                  <a:pt x="245" y="240"/>
                </a:lnTo>
                <a:lnTo>
                  <a:pt x="248" y="234"/>
                </a:lnTo>
                <a:lnTo>
                  <a:pt x="248" y="226"/>
                </a:lnTo>
                <a:lnTo>
                  <a:pt x="250" y="220"/>
                </a:lnTo>
                <a:lnTo>
                  <a:pt x="250" y="220"/>
                </a:lnTo>
                <a:lnTo>
                  <a:pt x="250" y="216"/>
                </a:lnTo>
                <a:lnTo>
                  <a:pt x="250" y="214"/>
                </a:lnTo>
                <a:lnTo>
                  <a:pt x="253" y="211"/>
                </a:lnTo>
                <a:lnTo>
                  <a:pt x="256" y="208"/>
                </a:lnTo>
                <a:lnTo>
                  <a:pt x="256" y="208"/>
                </a:lnTo>
                <a:lnTo>
                  <a:pt x="260" y="199"/>
                </a:lnTo>
                <a:lnTo>
                  <a:pt x="265" y="191"/>
                </a:lnTo>
                <a:lnTo>
                  <a:pt x="265" y="191"/>
                </a:lnTo>
                <a:lnTo>
                  <a:pt x="273" y="186"/>
                </a:lnTo>
                <a:lnTo>
                  <a:pt x="279" y="182"/>
                </a:lnTo>
                <a:lnTo>
                  <a:pt x="279" y="182"/>
                </a:lnTo>
                <a:lnTo>
                  <a:pt x="293" y="173"/>
                </a:lnTo>
                <a:lnTo>
                  <a:pt x="299" y="166"/>
                </a:lnTo>
                <a:lnTo>
                  <a:pt x="305" y="159"/>
                </a:lnTo>
                <a:lnTo>
                  <a:pt x="305" y="159"/>
                </a:lnTo>
                <a:lnTo>
                  <a:pt x="319" y="140"/>
                </a:lnTo>
                <a:lnTo>
                  <a:pt x="319" y="140"/>
                </a:lnTo>
                <a:lnTo>
                  <a:pt x="324" y="137"/>
                </a:lnTo>
                <a:lnTo>
                  <a:pt x="327" y="134"/>
                </a:lnTo>
                <a:lnTo>
                  <a:pt x="327" y="134"/>
                </a:lnTo>
                <a:lnTo>
                  <a:pt x="328" y="132"/>
                </a:lnTo>
                <a:lnTo>
                  <a:pt x="327" y="131"/>
                </a:lnTo>
                <a:lnTo>
                  <a:pt x="327" y="129"/>
                </a:lnTo>
                <a:lnTo>
                  <a:pt x="327" y="129"/>
                </a:lnTo>
                <a:lnTo>
                  <a:pt x="331" y="125"/>
                </a:lnTo>
                <a:lnTo>
                  <a:pt x="331" y="125"/>
                </a:lnTo>
                <a:lnTo>
                  <a:pt x="331" y="123"/>
                </a:lnTo>
                <a:lnTo>
                  <a:pt x="331" y="120"/>
                </a:lnTo>
                <a:lnTo>
                  <a:pt x="331" y="120"/>
                </a:lnTo>
                <a:lnTo>
                  <a:pt x="330" y="117"/>
                </a:lnTo>
                <a:lnTo>
                  <a:pt x="330" y="116"/>
                </a:lnTo>
                <a:lnTo>
                  <a:pt x="330" y="114"/>
                </a:lnTo>
                <a:lnTo>
                  <a:pt x="331" y="114"/>
                </a:lnTo>
                <a:lnTo>
                  <a:pt x="331" y="114"/>
                </a:lnTo>
                <a:lnTo>
                  <a:pt x="333" y="112"/>
                </a:lnTo>
                <a:lnTo>
                  <a:pt x="331" y="109"/>
                </a:lnTo>
                <a:lnTo>
                  <a:pt x="324" y="102"/>
                </a:lnTo>
                <a:lnTo>
                  <a:pt x="324" y="102"/>
                </a:lnTo>
                <a:lnTo>
                  <a:pt x="322" y="99"/>
                </a:lnTo>
                <a:lnTo>
                  <a:pt x="320" y="95"/>
                </a:lnTo>
                <a:lnTo>
                  <a:pt x="319" y="94"/>
                </a:lnTo>
                <a:lnTo>
                  <a:pt x="317" y="92"/>
                </a:lnTo>
                <a:lnTo>
                  <a:pt x="317" y="92"/>
                </a:lnTo>
                <a:lnTo>
                  <a:pt x="314" y="91"/>
                </a:lnTo>
                <a:lnTo>
                  <a:pt x="314" y="91"/>
                </a:lnTo>
                <a:lnTo>
                  <a:pt x="313" y="88"/>
                </a:lnTo>
                <a:lnTo>
                  <a:pt x="311" y="86"/>
                </a:lnTo>
                <a:lnTo>
                  <a:pt x="311" y="86"/>
                </a:lnTo>
                <a:lnTo>
                  <a:pt x="308" y="85"/>
                </a:lnTo>
                <a:lnTo>
                  <a:pt x="308" y="83"/>
                </a:lnTo>
                <a:lnTo>
                  <a:pt x="308" y="82"/>
                </a:lnTo>
                <a:lnTo>
                  <a:pt x="305" y="77"/>
                </a:lnTo>
                <a:lnTo>
                  <a:pt x="305" y="77"/>
                </a:lnTo>
                <a:lnTo>
                  <a:pt x="299" y="71"/>
                </a:lnTo>
                <a:lnTo>
                  <a:pt x="291" y="65"/>
                </a:lnTo>
                <a:lnTo>
                  <a:pt x="274" y="55"/>
                </a:lnTo>
                <a:lnTo>
                  <a:pt x="274" y="55"/>
                </a:lnTo>
                <a:lnTo>
                  <a:pt x="268" y="51"/>
                </a:lnTo>
                <a:lnTo>
                  <a:pt x="266" y="46"/>
                </a:lnTo>
                <a:lnTo>
                  <a:pt x="265" y="42"/>
                </a:lnTo>
                <a:lnTo>
                  <a:pt x="259" y="35"/>
                </a:lnTo>
                <a:lnTo>
                  <a:pt x="259" y="35"/>
                </a:lnTo>
                <a:lnTo>
                  <a:pt x="254" y="34"/>
                </a:lnTo>
                <a:lnTo>
                  <a:pt x="251" y="32"/>
                </a:lnTo>
                <a:lnTo>
                  <a:pt x="248" y="32"/>
                </a:lnTo>
                <a:lnTo>
                  <a:pt x="246" y="34"/>
                </a:lnTo>
                <a:lnTo>
                  <a:pt x="243" y="37"/>
                </a:lnTo>
                <a:lnTo>
                  <a:pt x="242" y="38"/>
                </a:lnTo>
                <a:lnTo>
                  <a:pt x="242" y="38"/>
                </a:lnTo>
                <a:lnTo>
                  <a:pt x="237" y="37"/>
                </a:lnTo>
                <a:lnTo>
                  <a:pt x="231" y="34"/>
                </a:lnTo>
                <a:lnTo>
                  <a:pt x="226" y="29"/>
                </a:lnTo>
                <a:lnTo>
                  <a:pt x="222" y="25"/>
                </a:lnTo>
                <a:lnTo>
                  <a:pt x="222" y="25"/>
                </a:lnTo>
                <a:lnTo>
                  <a:pt x="211" y="8"/>
                </a:lnTo>
                <a:lnTo>
                  <a:pt x="211" y="8"/>
                </a:lnTo>
                <a:lnTo>
                  <a:pt x="208" y="5"/>
                </a:lnTo>
                <a:lnTo>
                  <a:pt x="206" y="3"/>
                </a:lnTo>
                <a:lnTo>
                  <a:pt x="202" y="1"/>
                </a:lnTo>
                <a:lnTo>
                  <a:pt x="202" y="1"/>
                </a:lnTo>
                <a:lnTo>
                  <a:pt x="197" y="1"/>
                </a:lnTo>
                <a:lnTo>
                  <a:pt x="196" y="3"/>
                </a:lnTo>
                <a:lnTo>
                  <a:pt x="192" y="6"/>
                </a:lnTo>
                <a:lnTo>
                  <a:pt x="192" y="6"/>
                </a:lnTo>
                <a:lnTo>
                  <a:pt x="189" y="6"/>
                </a:lnTo>
                <a:lnTo>
                  <a:pt x="188" y="8"/>
                </a:lnTo>
                <a:lnTo>
                  <a:pt x="188" y="9"/>
                </a:lnTo>
                <a:lnTo>
                  <a:pt x="188" y="9"/>
                </a:lnTo>
                <a:lnTo>
                  <a:pt x="177" y="6"/>
                </a:lnTo>
                <a:lnTo>
                  <a:pt x="162" y="1"/>
                </a:lnTo>
                <a:lnTo>
                  <a:pt x="162" y="1"/>
                </a:lnTo>
                <a:lnTo>
                  <a:pt x="157" y="0"/>
                </a:lnTo>
                <a:lnTo>
                  <a:pt x="149" y="0"/>
                </a:lnTo>
                <a:lnTo>
                  <a:pt x="140" y="1"/>
                </a:lnTo>
                <a:lnTo>
                  <a:pt x="131" y="5"/>
                </a:lnTo>
                <a:lnTo>
                  <a:pt x="131" y="5"/>
                </a:lnTo>
                <a:lnTo>
                  <a:pt x="126" y="8"/>
                </a:lnTo>
                <a:lnTo>
                  <a:pt x="125" y="11"/>
                </a:lnTo>
                <a:lnTo>
                  <a:pt x="123" y="15"/>
                </a:lnTo>
                <a:lnTo>
                  <a:pt x="123" y="20"/>
                </a:lnTo>
                <a:lnTo>
                  <a:pt x="125" y="21"/>
                </a:lnTo>
                <a:lnTo>
                  <a:pt x="125" y="21"/>
                </a:lnTo>
                <a:lnTo>
                  <a:pt x="117" y="28"/>
                </a:lnTo>
                <a:lnTo>
                  <a:pt x="114" y="32"/>
                </a:lnTo>
                <a:lnTo>
                  <a:pt x="111" y="37"/>
                </a:lnTo>
                <a:lnTo>
                  <a:pt x="111" y="37"/>
                </a:lnTo>
                <a:lnTo>
                  <a:pt x="109" y="42"/>
                </a:lnTo>
                <a:lnTo>
                  <a:pt x="108" y="43"/>
                </a:lnTo>
                <a:lnTo>
                  <a:pt x="108" y="45"/>
                </a:lnTo>
                <a:lnTo>
                  <a:pt x="106" y="48"/>
                </a:lnTo>
                <a:lnTo>
                  <a:pt x="106" y="48"/>
                </a:lnTo>
                <a:lnTo>
                  <a:pt x="105" y="51"/>
                </a:lnTo>
                <a:lnTo>
                  <a:pt x="106" y="52"/>
                </a:lnTo>
                <a:lnTo>
                  <a:pt x="106" y="52"/>
                </a:lnTo>
                <a:lnTo>
                  <a:pt x="106" y="55"/>
                </a:lnTo>
                <a:lnTo>
                  <a:pt x="106" y="55"/>
                </a:lnTo>
                <a:lnTo>
                  <a:pt x="106" y="62"/>
                </a:lnTo>
                <a:lnTo>
                  <a:pt x="106" y="63"/>
                </a:lnTo>
                <a:lnTo>
                  <a:pt x="106" y="63"/>
                </a:lnTo>
                <a:lnTo>
                  <a:pt x="100" y="69"/>
                </a:lnTo>
                <a:lnTo>
                  <a:pt x="100" y="69"/>
                </a:lnTo>
                <a:lnTo>
                  <a:pt x="98" y="72"/>
                </a:lnTo>
                <a:lnTo>
                  <a:pt x="100" y="75"/>
                </a:lnTo>
                <a:lnTo>
                  <a:pt x="103" y="77"/>
                </a:lnTo>
                <a:lnTo>
                  <a:pt x="103" y="77"/>
                </a:lnTo>
                <a:lnTo>
                  <a:pt x="102" y="82"/>
                </a:lnTo>
                <a:lnTo>
                  <a:pt x="102" y="82"/>
                </a:lnTo>
                <a:lnTo>
                  <a:pt x="102" y="86"/>
                </a:lnTo>
                <a:lnTo>
                  <a:pt x="100" y="88"/>
                </a:lnTo>
                <a:lnTo>
                  <a:pt x="100" y="88"/>
                </a:lnTo>
                <a:lnTo>
                  <a:pt x="100" y="91"/>
                </a:lnTo>
                <a:lnTo>
                  <a:pt x="100" y="94"/>
                </a:lnTo>
                <a:lnTo>
                  <a:pt x="100" y="94"/>
                </a:lnTo>
                <a:lnTo>
                  <a:pt x="100" y="95"/>
                </a:lnTo>
                <a:lnTo>
                  <a:pt x="100" y="99"/>
                </a:lnTo>
                <a:lnTo>
                  <a:pt x="102" y="102"/>
                </a:lnTo>
                <a:lnTo>
                  <a:pt x="102" y="102"/>
                </a:lnTo>
                <a:lnTo>
                  <a:pt x="100" y="106"/>
                </a:lnTo>
                <a:lnTo>
                  <a:pt x="98" y="109"/>
                </a:lnTo>
                <a:lnTo>
                  <a:pt x="98" y="109"/>
                </a:lnTo>
                <a:lnTo>
                  <a:pt x="97" y="112"/>
                </a:lnTo>
                <a:lnTo>
                  <a:pt x="100" y="117"/>
                </a:lnTo>
                <a:lnTo>
                  <a:pt x="100" y="117"/>
                </a:lnTo>
                <a:lnTo>
                  <a:pt x="106" y="120"/>
                </a:lnTo>
                <a:lnTo>
                  <a:pt x="115" y="123"/>
                </a:lnTo>
                <a:lnTo>
                  <a:pt x="115" y="123"/>
                </a:lnTo>
                <a:lnTo>
                  <a:pt x="117" y="123"/>
                </a:lnTo>
                <a:lnTo>
                  <a:pt x="118" y="126"/>
                </a:lnTo>
                <a:lnTo>
                  <a:pt x="120" y="131"/>
                </a:lnTo>
                <a:lnTo>
                  <a:pt x="120" y="136"/>
                </a:lnTo>
                <a:lnTo>
                  <a:pt x="120" y="136"/>
                </a:lnTo>
                <a:lnTo>
                  <a:pt x="117" y="137"/>
                </a:lnTo>
                <a:lnTo>
                  <a:pt x="115" y="139"/>
                </a:lnTo>
                <a:lnTo>
                  <a:pt x="114" y="142"/>
                </a:lnTo>
                <a:lnTo>
                  <a:pt x="112" y="146"/>
                </a:lnTo>
                <a:lnTo>
                  <a:pt x="112" y="146"/>
                </a:lnTo>
                <a:lnTo>
                  <a:pt x="69" y="174"/>
                </a:lnTo>
                <a:lnTo>
                  <a:pt x="69" y="174"/>
                </a:lnTo>
                <a:lnTo>
                  <a:pt x="63" y="179"/>
                </a:lnTo>
                <a:lnTo>
                  <a:pt x="58" y="183"/>
                </a:lnTo>
                <a:lnTo>
                  <a:pt x="55" y="191"/>
                </a:lnTo>
                <a:lnTo>
                  <a:pt x="55" y="191"/>
                </a:lnTo>
                <a:lnTo>
                  <a:pt x="52" y="211"/>
                </a:lnTo>
                <a:lnTo>
                  <a:pt x="51" y="228"/>
                </a:lnTo>
                <a:lnTo>
                  <a:pt x="51" y="228"/>
                </a:lnTo>
                <a:lnTo>
                  <a:pt x="49" y="259"/>
                </a:lnTo>
                <a:lnTo>
                  <a:pt x="49" y="259"/>
                </a:lnTo>
                <a:lnTo>
                  <a:pt x="49" y="271"/>
                </a:lnTo>
                <a:lnTo>
                  <a:pt x="48" y="274"/>
                </a:lnTo>
                <a:lnTo>
                  <a:pt x="43" y="279"/>
                </a:lnTo>
                <a:lnTo>
                  <a:pt x="43" y="279"/>
                </a:lnTo>
                <a:lnTo>
                  <a:pt x="40" y="285"/>
                </a:lnTo>
                <a:lnTo>
                  <a:pt x="40" y="290"/>
                </a:lnTo>
                <a:lnTo>
                  <a:pt x="41" y="294"/>
                </a:lnTo>
                <a:lnTo>
                  <a:pt x="43" y="299"/>
                </a:lnTo>
                <a:lnTo>
                  <a:pt x="43" y="299"/>
                </a:lnTo>
                <a:lnTo>
                  <a:pt x="43" y="304"/>
                </a:lnTo>
                <a:lnTo>
                  <a:pt x="41" y="307"/>
                </a:lnTo>
                <a:lnTo>
                  <a:pt x="41" y="311"/>
                </a:lnTo>
                <a:lnTo>
                  <a:pt x="40" y="317"/>
                </a:lnTo>
                <a:lnTo>
                  <a:pt x="40" y="317"/>
                </a:lnTo>
                <a:lnTo>
                  <a:pt x="40" y="322"/>
                </a:lnTo>
                <a:lnTo>
                  <a:pt x="38" y="325"/>
                </a:lnTo>
                <a:lnTo>
                  <a:pt x="35" y="327"/>
                </a:lnTo>
                <a:lnTo>
                  <a:pt x="34" y="330"/>
                </a:lnTo>
                <a:lnTo>
                  <a:pt x="34" y="330"/>
                </a:lnTo>
                <a:lnTo>
                  <a:pt x="32" y="333"/>
                </a:lnTo>
                <a:lnTo>
                  <a:pt x="32" y="337"/>
                </a:lnTo>
                <a:lnTo>
                  <a:pt x="32" y="348"/>
                </a:lnTo>
                <a:lnTo>
                  <a:pt x="32" y="348"/>
                </a:lnTo>
                <a:lnTo>
                  <a:pt x="32" y="353"/>
                </a:lnTo>
                <a:lnTo>
                  <a:pt x="34" y="359"/>
                </a:lnTo>
                <a:lnTo>
                  <a:pt x="34" y="365"/>
                </a:lnTo>
                <a:lnTo>
                  <a:pt x="35" y="371"/>
                </a:lnTo>
                <a:lnTo>
                  <a:pt x="35" y="371"/>
                </a:lnTo>
                <a:lnTo>
                  <a:pt x="35" y="381"/>
                </a:lnTo>
                <a:lnTo>
                  <a:pt x="35" y="390"/>
                </a:lnTo>
                <a:lnTo>
                  <a:pt x="35" y="390"/>
                </a:lnTo>
                <a:lnTo>
                  <a:pt x="37" y="396"/>
                </a:lnTo>
                <a:lnTo>
                  <a:pt x="40" y="402"/>
                </a:lnTo>
                <a:lnTo>
                  <a:pt x="41" y="411"/>
                </a:lnTo>
                <a:lnTo>
                  <a:pt x="43" y="425"/>
                </a:lnTo>
                <a:lnTo>
                  <a:pt x="43" y="425"/>
                </a:lnTo>
                <a:lnTo>
                  <a:pt x="44" y="435"/>
                </a:lnTo>
                <a:lnTo>
                  <a:pt x="46" y="439"/>
                </a:lnTo>
                <a:lnTo>
                  <a:pt x="49" y="444"/>
                </a:lnTo>
                <a:lnTo>
                  <a:pt x="52" y="447"/>
                </a:lnTo>
                <a:lnTo>
                  <a:pt x="57" y="448"/>
                </a:lnTo>
                <a:lnTo>
                  <a:pt x="60" y="448"/>
                </a:lnTo>
                <a:lnTo>
                  <a:pt x="60" y="453"/>
                </a:lnTo>
                <a:lnTo>
                  <a:pt x="60" y="453"/>
                </a:lnTo>
                <a:lnTo>
                  <a:pt x="57" y="459"/>
                </a:lnTo>
                <a:lnTo>
                  <a:pt x="55" y="462"/>
                </a:lnTo>
                <a:lnTo>
                  <a:pt x="55" y="467"/>
                </a:lnTo>
                <a:lnTo>
                  <a:pt x="55" y="470"/>
                </a:lnTo>
                <a:lnTo>
                  <a:pt x="58" y="478"/>
                </a:lnTo>
                <a:lnTo>
                  <a:pt x="63" y="485"/>
                </a:lnTo>
                <a:lnTo>
                  <a:pt x="63" y="485"/>
                </a:lnTo>
                <a:lnTo>
                  <a:pt x="68" y="496"/>
                </a:lnTo>
                <a:lnTo>
                  <a:pt x="69" y="509"/>
                </a:lnTo>
                <a:lnTo>
                  <a:pt x="69" y="535"/>
                </a:lnTo>
                <a:lnTo>
                  <a:pt x="69" y="535"/>
                </a:lnTo>
                <a:lnTo>
                  <a:pt x="77" y="598"/>
                </a:lnTo>
                <a:lnTo>
                  <a:pt x="83" y="637"/>
                </a:lnTo>
                <a:lnTo>
                  <a:pt x="88" y="658"/>
                </a:lnTo>
                <a:lnTo>
                  <a:pt x="88" y="658"/>
                </a:lnTo>
                <a:lnTo>
                  <a:pt x="89" y="666"/>
                </a:lnTo>
                <a:lnTo>
                  <a:pt x="88" y="677"/>
                </a:lnTo>
                <a:lnTo>
                  <a:pt x="85" y="707"/>
                </a:lnTo>
                <a:lnTo>
                  <a:pt x="78" y="737"/>
                </a:lnTo>
                <a:lnTo>
                  <a:pt x="74" y="758"/>
                </a:lnTo>
                <a:lnTo>
                  <a:pt x="74" y="758"/>
                </a:lnTo>
                <a:lnTo>
                  <a:pt x="71" y="777"/>
                </a:lnTo>
                <a:lnTo>
                  <a:pt x="71" y="800"/>
                </a:lnTo>
                <a:lnTo>
                  <a:pt x="71" y="831"/>
                </a:lnTo>
                <a:lnTo>
                  <a:pt x="71" y="831"/>
                </a:lnTo>
                <a:lnTo>
                  <a:pt x="63" y="838"/>
                </a:lnTo>
                <a:lnTo>
                  <a:pt x="54" y="848"/>
                </a:lnTo>
                <a:lnTo>
                  <a:pt x="54" y="848"/>
                </a:lnTo>
                <a:lnTo>
                  <a:pt x="52" y="849"/>
                </a:lnTo>
                <a:lnTo>
                  <a:pt x="46" y="854"/>
                </a:lnTo>
                <a:lnTo>
                  <a:pt x="37" y="860"/>
                </a:lnTo>
                <a:lnTo>
                  <a:pt x="26" y="865"/>
                </a:lnTo>
                <a:lnTo>
                  <a:pt x="26" y="865"/>
                </a:lnTo>
                <a:lnTo>
                  <a:pt x="14" y="869"/>
                </a:lnTo>
                <a:lnTo>
                  <a:pt x="4" y="877"/>
                </a:lnTo>
                <a:lnTo>
                  <a:pt x="1" y="880"/>
                </a:lnTo>
                <a:lnTo>
                  <a:pt x="0" y="885"/>
                </a:lnTo>
                <a:lnTo>
                  <a:pt x="0" y="889"/>
                </a:lnTo>
                <a:lnTo>
                  <a:pt x="1" y="894"/>
                </a:lnTo>
                <a:lnTo>
                  <a:pt x="1" y="894"/>
                </a:lnTo>
                <a:close/>
                <a:moveTo>
                  <a:pt x="180" y="112"/>
                </a:moveTo>
                <a:lnTo>
                  <a:pt x="180" y="112"/>
                </a:lnTo>
                <a:lnTo>
                  <a:pt x="183" y="106"/>
                </a:lnTo>
                <a:lnTo>
                  <a:pt x="186" y="102"/>
                </a:lnTo>
                <a:lnTo>
                  <a:pt x="197" y="92"/>
                </a:lnTo>
                <a:lnTo>
                  <a:pt x="197" y="92"/>
                </a:lnTo>
                <a:lnTo>
                  <a:pt x="202" y="86"/>
                </a:lnTo>
                <a:lnTo>
                  <a:pt x="205" y="80"/>
                </a:lnTo>
                <a:lnTo>
                  <a:pt x="205" y="74"/>
                </a:lnTo>
                <a:lnTo>
                  <a:pt x="205" y="74"/>
                </a:lnTo>
                <a:lnTo>
                  <a:pt x="208" y="72"/>
                </a:lnTo>
                <a:lnTo>
                  <a:pt x="209" y="71"/>
                </a:lnTo>
                <a:lnTo>
                  <a:pt x="209" y="71"/>
                </a:lnTo>
                <a:lnTo>
                  <a:pt x="214" y="69"/>
                </a:lnTo>
                <a:lnTo>
                  <a:pt x="219" y="68"/>
                </a:lnTo>
                <a:lnTo>
                  <a:pt x="219" y="68"/>
                </a:lnTo>
                <a:lnTo>
                  <a:pt x="228" y="65"/>
                </a:lnTo>
                <a:lnTo>
                  <a:pt x="231" y="66"/>
                </a:lnTo>
                <a:lnTo>
                  <a:pt x="231" y="66"/>
                </a:lnTo>
                <a:lnTo>
                  <a:pt x="237" y="79"/>
                </a:lnTo>
                <a:lnTo>
                  <a:pt x="237" y="79"/>
                </a:lnTo>
                <a:lnTo>
                  <a:pt x="240" y="83"/>
                </a:lnTo>
                <a:lnTo>
                  <a:pt x="250" y="92"/>
                </a:lnTo>
                <a:lnTo>
                  <a:pt x="250" y="92"/>
                </a:lnTo>
                <a:lnTo>
                  <a:pt x="254" y="99"/>
                </a:lnTo>
                <a:lnTo>
                  <a:pt x="256" y="102"/>
                </a:lnTo>
                <a:lnTo>
                  <a:pt x="256" y="103"/>
                </a:lnTo>
                <a:lnTo>
                  <a:pt x="256" y="105"/>
                </a:lnTo>
                <a:lnTo>
                  <a:pt x="256" y="105"/>
                </a:lnTo>
                <a:lnTo>
                  <a:pt x="259" y="106"/>
                </a:lnTo>
                <a:lnTo>
                  <a:pt x="262" y="108"/>
                </a:lnTo>
                <a:lnTo>
                  <a:pt x="262" y="108"/>
                </a:lnTo>
                <a:lnTo>
                  <a:pt x="263" y="109"/>
                </a:lnTo>
                <a:lnTo>
                  <a:pt x="265" y="111"/>
                </a:lnTo>
                <a:lnTo>
                  <a:pt x="266" y="116"/>
                </a:lnTo>
                <a:lnTo>
                  <a:pt x="266" y="116"/>
                </a:lnTo>
                <a:lnTo>
                  <a:pt x="268" y="119"/>
                </a:lnTo>
                <a:lnTo>
                  <a:pt x="266" y="119"/>
                </a:lnTo>
                <a:lnTo>
                  <a:pt x="263" y="119"/>
                </a:lnTo>
                <a:lnTo>
                  <a:pt x="263" y="119"/>
                </a:lnTo>
                <a:lnTo>
                  <a:pt x="260" y="119"/>
                </a:lnTo>
                <a:lnTo>
                  <a:pt x="257" y="117"/>
                </a:lnTo>
                <a:lnTo>
                  <a:pt x="254" y="114"/>
                </a:lnTo>
                <a:lnTo>
                  <a:pt x="251" y="112"/>
                </a:lnTo>
                <a:lnTo>
                  <a:pt x="251" y="112"/>
                </a:lnTo>
                <a:lnTo>
                  <a:pt x="246" y="109"/>
                </a:lnTo>
                <a:lnTo>
                  <a:pt x="240" y="109"/>
                </a:lnTo>
                <a:lnTo>
                  <a:pt x="234" y="111"/>
                </a:lnTo>
                <a:lnTo>
                  <a:pt x="226" y="117"/>
                </a:lnTo>
                <a:lnTo>
                  <a:pt x="226" y="117"/>
                </a:lnTo>
                <a:lnTo>
                  <a:pt x="220" y="123"/>
                </a:lnTo>
                <a:lnTo>
                  <a:pt x="216" y="125"/>
                </a:lnTo>
                <a:lnTo>
                  <a:pt x="211" y="126"/>
                </a:lnTo>
                <a:lnTo>
                  <a:pt x="208" y="128"/>
                </a:lnTo>
                <a:lnTo>
                  <a:pt x="208" y="128"/>
                </a:lnTo>
                <a:lnTo>
                  <a:pt x="202" y="129"/>
                </a:lnTo>
                <a:lnTo>
                  <a:pt x="197" y="129"/>
                </a:lnTo>
                <a:lnTo>
                  <a:pt x="191" y="128"/>
                </a:lnTo>
                <a:lnTo>
                  <a:pt x="186" y="126"/>
                </a:lnTo>
                <a:lnTo>
                  <a:pt x="186" y="126"/>
                </a:lnTo>
                <a:lnTo>
                  <a:pt x="183" y="123"/>
                </a:lnTo>
                <a:lnTo>
                  <a:pt x="182" y="119"/>
                </a:lnTo>
                <a:lnTo>
                  <a:pt x="180" y="112"/>
                </a:lnTo>
                <a:lnTo>
                  <a:pt x="180" y="112"/>
                </a:lnTo>
                <a:close/>
              </a:path>
            </a:pathLst>
          </a:custGeom>
          <a:solidFill>
            <a:srgbClr val="A32020">
              <a:alpha val="92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7" name="Freeform 80">
            <a:extLst>
              <a:ext uri="{FF2B5EF4-FFF2-40B4-BE49-F238E27FC236}">
                <a16:creationId xmlns:a16="http://schemas.microsoft.com/office/drawing/2014/main" id="{8AAAD177-4DBA-4B75-8915-646600B467E5}"/>
              </a:ext>
            </a:extLst>
          </p:cNvPr>
          <p:cNvSpPr>
            <a:spLocks/>
          </p:cNvSpPr>
          <p:nvPr/>
        </p:nvSpPr>
        <p:spPr bwMode="auto">
          <a:xfrm>
            <a:off x="3643190" y="3191517"/>
            <a:ext cx="356662" cy="719293"/>
          </a:xfrm>
          <a:custGeom>
            <a:avLst/>
            <a:gdLst>
              <a:gd name="T0" fmla="*/ 4 w 139"/>
              <a:gd name="T1" fmla="*/ 301 h 301"/>
              <a:gd name="T2" fmla="*/ 0 w 139"/>
              <a:gd name="T3" fmla="*/ 291 h 301"/>
              <a:gd name="T4" fmla="*/ 0 w 139"/>
              <a:gd name="T5" fmla="*/ 285 h 301"/>
              <a:gd name="T6" fmla="*/ 3 w 139"/>
              <a:gd name="T7" fmla="*/ 275 h 301"/>
              <a:gd name="T8" fmla="*/ 3 w 139"/>
              <a:gd name="T9" fmla="*/ 267 h 301"/>
              <a:gd name="T10" fmla="*/ 1 w 139"/>
              <a:gd name="T11" fmla="*/ 264 h 301"/>
              <a:gd name="T12" fmla="*/ 0 w 139"/>
              <a:gd name="T13" fmla="*/ 256 h 301"/>
              <a:gd name="T14" fmla="*/ 3 w 139"/>
              <a:gd name="T15" fmla="*/ 251 h 301"/>
              <a:gd name="T16" fmla="*/ 7 w 139"/>
              <a:gd name="T17" fmla="*/ 239 h 301"/>
              <a:gd name="T18" fmla="*/ 7 w 139"/>
              <a:gd name="T19" fmla="*/ 236 h 301"/>
              <a:gd name="T20" fmla="*/ 6 w 139"/>
              <a:gd name="T21" fmla="*/ 230 h 301"/>
              <a:gd name="T22" fmla="*/ 7 w 139"/>
              <a:gd name="T23" fmla="*/ 227 h 301"/>
              <a:gd name="T24" fmla="*/ 12 w 139"/>
              <a:gd name="T25" fmla="*/ 224 h 301"/>
              <a:gd name="T26" fmla="*/ 12 w 139"/>
              <a:gd name="T27" fmla="*/ 221 h 301"/>
              <a:gd name="T28" fmla="*/ 9 w 139"/>
              <a:gd name="T29" fmla="*/ 214 h 301"/>
              <a:gd name="T30" fmla="*/ 11 w 139"/>
              <a:gd name="T31" fmla="*/ 211 h 301"/>
              <a:gd name="T32" fmla="*/ 14 w 139"/>
              <a:gd name="T33" fmla="*/ 207 h 301"/>
              <a:gd name="T34" fmla="*/ 15 w 139"/>
              <a:gd name="T35" fmla="*/ 201 h 301"/>
              <a:gd name="T36" fmla="*/ 14 w 139"/>
              <a:gd name="T37" fmla="*/ 194 h 301"/>
              <a:gd name="T38" fmla="*/ 14 w 139"/>
              <a:gd name="T39" fmla="*/ 191 h 301"/>
              <a:gd name="T40" fmla="*/ 15 w 139"/>
              <a:gd name="T41" fmla="*/ 176 h 301"/>
              <a:gd name="T42" fmla="*/ 17 w 139"/>
              <a:gd name="T43" fmla="*/ 160 h 301"/>
              <a:gd name="T44" fmla="*/ 20 w 139"/>
              <a:gd name="T45" fmla="*/ 143 h 301"/>
              <a:gd name="T46" fmla="*/ 28 w 139"/>
              <a:gd name="T47" fmla="*/ 79 h 301"/>
              <a:gd name="T48" fmla="*/ 32 w 139"/>
              <a:gd name="T49" fmla="*/ 62 h 301"/>
              <a:gd name="T50" fmla="*/ 35 w 139"/>
              <a:gd name="T51" fmla="*/ 49 h 301"/>
              <a:gd name="T52" fmla="*/ 38 w 139"/>
              <a:gd name="T53" fmla="*/ 46 h 301"/>
              <a:gd name="T54" fmla="*/ 40 w 139"/>
              <a:gd name="T55" fmla="*/ 43 h 301"/>
              <a:gd name="T56" fmla="*/ 38 w 139"/>
              <a:gd name="T57" fmla="*/ 36 h 301"/>
              <a:gd name="T58" fmla="*/ 40 w 139"/>
              <a:gd name="T59" fmla="*/ 29 h 301"/>
              <a:gd name="T60" fmla="*/ 38 w 139"/>
              <a:gd name="T61" fmla="*/ 25 h 301"/>
              <a:gd name="T62" fmla="*/ 41 w 139"/>
              <a:gd name="T63" fmla="*/ 19 h 301"/>
              <a:gd name="T64" fmla="*/ 44 w 139"/>
              <a:gd name="T65" fmla="*/ 17 h 301"/>
              <a:gd name="T66" fmla="*/ 44 w 139"/>
              <a:gd name="T67" fmla="*/ 17 h 301"/>
              <a:gd name="T68" fmla="*/ 44 w 139"/>
              <a:gd name="T69" fmla="*/ 23 h 301"/>
              <a:gd name="T70" fmla="*/ 48 w 139"/>
              <a:gd name="T71" fmla="*/ 25 h 301"/>
              <a:gd name="T72" fmla="*/ 55 w 139"/>
              <a:gd name="T73" fmla="*/ 28 h 301"/>
              <a:gd name="T74" fmla="*/ 65 w 139"/>
              <a:gd name="T75" fmla="*/ 25 h 301"/>
              <a:gd name="T76" fmla="*/ 88 w 139"/>
              <a:gd name="T77" fmla="*/ 12 h 301"/>
              <a:gd name="T78" fmla="*/ 97 w 139"/>
              <a:gd name="T79" fmla="*/ 6 h 301"/>
              <a:gd name="T80" fmla="*/ 105 w 139"/>
              <a:gd name="T81" fmla="*/ 0 h 301"/>
              <a:gd name="T82" fmla="*/ 105 w 139"/>
              <a:gd name="T83" fmla="*/ 3 h 301"/>
              <a:gd name="T84" fmla="*/ 103 w 139"/>
              <a:gd name="T85" fmla="*/ 12 h 301"/>
              <a:gd name="T86" fmla="*/ 98 w 139"/>
              <a:gd name="T87" fmla="*/ 26 h 301"/>
              <a:gd name="T88" fmla="*/ 95 w 139"/>
              <a:gd name="T89" fmla="*/ 40 h 301"/>
              <a:gd name="T90" fmla="*/ 94 w 139"/>
              <a:gd name="T91" fmla="*/ 88 h 301"/>
              <a:gd name="T92" fmla="*/ 92 w 139"/>
              <a:gd name="T93" fmla="*/ 96 h 301"/>
              <a:gd name="T94" fmla="*/ 97 w 139"/>
              <a:gd name="T95" fmla="*/ 108 h 301"/>
              <a:gd name="T96" fmla="*/ 112 w 139"/>
              <a:gd name="T97" fmla="*/ 128 h 301"/>
              <a:gd name="T98" fmla="*/ 122 w 139"/>
              <a:gd name="T99" fmla="*/ 147 h 301"/>
              <a:gd name="T100" fmla="*/ 128 w 139"/>
              <a:gd name="T101" fmla="*/ 168 h 301"/>
              <a:gd name="T102" fmla="*/ 132 w 139"/>
              <a:gd name="T103" fmla="*/ 188 h 301"/>
              <a:gd name="T104" fmla="*/ 135 w 139"/>
              <a:gd name="T105" fmla="*/ 242 h 301"/>
              <a:gd name="T106" fmla="*/ 139 w 139"/>
              <a:gd name="T107" fmla="*/ 287 h 301"/>
              <a:gd name="T108" fmla="*/ 105 w 139"/>
              <a:gd name="T109" fmla="*/ 288 h 301"/>
              <a:gd name="T110" fmla="*/ 38 w 139"/>
              <a:gd name="T111" fmla="*/ 296 h 301"/>
              <a:gd name="T112" fmla="*/ 9 w 139"/>
              <a:gd name="T113" fmla="*/ 298 h 301"/>
              <a:gd name="T114" fmla="*/ 4 w 139"/>
              <a:gd name="T115" fmla="*/ 301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9" h="301">
                <a:moveTo>
                  <a:pt x="4" y="301"/>
                </a:moveTo>
                <a:lnTo>
                  <a:pt x="4" y="301"/>
                </a:lnTo>
                <a:lnTo>
                  <a:pt x="1" y="296"/>
                </a:lnTo>
                <a:lnTo>
                  <a:pt x="0" y="291"/>
                </a:lnTo>
                <a:lnTo>
                  <a:pt x="0" y="285"/>
                </a:lnTo>
                <a:lnTo>
                  <a:pt x="0" y="285"/>
                </a:lnTo>
                <a:lnTo>
                  <a:pt x="1" y="279"/>
                </a:lnTo>
                <a:lnTo>
                  <a:pt x="3" y="275"/>
                </a:lnTo>
                <a:lnTo>
                  <a:pt x="4" y="270"/>
                </a:lnTo>
                <a:lnTo>
                  <a:pt x="3" y="267"/>
                </a:lnTo>
                <a:lnTo>
                  <a:pt x="3" y="267"/>
                </a:lnTo>
                <a:lnTo>
                  <a:pt x="1" y="264"/>
                </a:lnTo>
                <a:lnTo>
                  <a:pt x="0" y="259"/>
                </a:lnTo>
                <a:lnTo>
                  <a:pt x="0" y="256"/>
                </a:lnTo>
                <a:lnTo>
                  <a:pt x="3" y="251"/>
                </a:lnTo>
                <a:lnTo>
                  <a:pt x="3" y="251"/>
                </a:lnTo>
                <a:lnTo>
                  <a:pt x="6" y="242"/>
                </a:lnTo>
                <a:lnTo>
                  <a:pt x="7" y="239"/>
                </a:lnTo>
                <a:lnTo>
                  <a:pt x="7" y="236"/>
                </a:lnTo>
                <a:lnTo>
                  <a:pt x="7" y="236"/>
                </a:lnTo>
                <a:lnTo>
                  <a:pt x="6" y="233"/>
                </a:lnTo>
                <a:lnTo>
                  <a:pt x="6" y="230"/>
                </a:lnTo>
                <a:lnTo>
                  <a:pt x="6" y="230"/>
                </a:lnTo>
                <a:lnTo>
                  <a:pt x="7" y="227"/>
                </a:lnTo>
                <a:lnTo>
                  <a:pt x="11" y="225"/>
                </a:lnTo>
                <a:lnTo>
                  <a:pt x="12" y="224"/>
                </a:lnTo>
                <a:lnTo>
                  <a:pt x="12" y="221"/>
                </a:lnTo>
                <a:lnTo>
                  <a:pt x="12" y="221"/>
                </a:lnTo>
                <a:lnTo>
                  <a:pt x="9" y="216"/>
                </a:lnTo>
                <a:lnTo>
                  <a:pt x="9" y="214"/>
                </a:lnTo>
                <a:lnTo>
                  <a:pt x="11" y="211"/>
                </a:lnTo>
                <a:lnTo>
                  <a:pt x="11" y="211"/>
                </a:lnTo>
                <a:lnTo>
                  <a:pt x="12" y="208"/>
                </a:lnTo>
                <a:lnTo>
                  <a:pt x="14" y="207"/>
                </a:lnTo>
                <a:lnTo>
                  <a:pt x="15" y="205"/>
                </a:lnTo>
                <a:lnTo>
                  <a:pt x="15" y="201"/>
                </a:lnTo>
                <a:lnTo>
                  <a:pt x="15" y="201"/>
                </a:lnTo>
                <a:lnTo>
                  <a:pt x="14" y="194"/>
                </a:lnTo>
                <a:lnTo>
                  <a:pt x="14" y="191"/>
                </a:lnTo>
                <a:lnTo>
                  <a:pt x="14" y="191"/>
                </a:lnTo>
                <a:lnTo>
                  <a:pt x="15" y="185"/>
                </a:lnTo>
                <a:lnTo>
                  <a:pt x="15" y="176"/>
                </a:lnTo>
                <a:lnTo>
                  <a:pt x="15" y="176"/>
                </a:lnTo>
                <a:lnTo>
                  <a:pt x="17" y="160"/>
                </a:lnTo>
                <a:lnTo>
                  <a:pt x="20" y="143"/>
                </a:lnTo>
                <a:lnTo>
                  <a:pt x="20" y="143"/>
                </a:lnTo>
                <a:lnTo>
                  <a:pt x="23" y="111"/>
                </a:lnTo>
                <a:lnTo>
                  <a:pt x="28" y="79"/>
                </a:lnTo>
                <a:lnTo>
                  <a:pt x="28" y="79"/>
                </a:lnTo>
                <a:lnTo>
                  <a:pt x="32" y="62"/>
                </a:lnTo>
                <a:lnTo>
                  <a:pt x="34" y="54"/>
                </a:lnTo>
                <a:lnTo>
                  <a:pt x="35" y="49"/>
                </a:lnTo>
                <a:lnTo>
                  <a:pt x="35" y="49"/>
                </a:lnTo>
                <a:lnTo>
                  <a:pt x="38" y="46"/>
                </a:lnTo>
                <a:lnTo>
                  <a:pt x="40" y="43"/>
                </a:lnTo>
                <a:lnTo>
                  <a:pt x="40" y="43"/>
                </a:lnTo>
                <a:lnTo>
                  <a:pt x="38" y="40"/>
                </a:lnTo>
                <a:lnTo>
                  <a:pt x="38" y="36"/>
                </a:lnTo>
                <a:lnTo>
                  <a:pt x="38" y="36"/>
                </a:lnTo>
                <a:lnTo>
                  <a:pt x="40" y="29"/>
                </a:lnTo>
                <a:lnTo>
                  <a:pt x="38" y="25"/>
                </a:lnTo>
                <a:lnTo>
                  <a:pt x="38" y="25"/>
                </a:lnTo>
                <a:lnTo>
                  <a:pt x="40" y="20"/>
                </a:lnTo>
                <a:lnTo>
                  <a:pt x="41" y="19"/>
                </a:lnTo>
                <a:lnTo>
                  <a:pt x="44" y="17"/>
                </a:lnTo>
                <a:lnTo>
                  <a:pt x="44" y="17"/>
                </a:lnTo>
                <a:lnTo>
                  <a:pt x="44" y="17"/>
                </a:lnTo>
                <a:lnTo>
                  <a:pt x="44" y="17"/>
                </a:lnTo>
                <a:lnTo>
                  <a:pt x="43" y="22"/>
                </a:lnTo>
                <a:lnTo>
                  <a:pt x="44" y="23"/>
                </a:lnTo>
                <a:lnTo>
                  <a:pt x="48" y="25"/>
                </a:lnTo>
                <a:lnTo>
                  <a:pt x="48" y="25"/>
                </a:lnTo>
                <a:lnTo>
                  <a:pt x="51" y="28"/>
                </a:lnTo>
                <a:lnTo>
                  <a:pt x="55" y="28"/>
                </a:lnTo>
                <a:lnTo>
                  <a:pt x="60" y="28"/>
                </a:lnTo>
                <a:lnTo>
                  <a:pt x="65" y="25"/>
                </a:lnTo>
                <a:lnTo>
                  <a:pt x="65" y="25"/>
                </a:lnTo>
                <a:lnTo>
                  <a:pt x="88" y="12"/>
                </a:lnTo>
                <a:lnTo>
                  <a:pt x="88" y="12"/>
                </a:lnTo>
                <a:lnTo>
                  <a:pt x="97" y="6"/>
                </a:lnTo>
                <a:lnTo>
                  <a:pt x="102" y="3"/>
                </a:lnTo>
                <a:lnTo>
                  <a:pt x="105" y="0"/>
                </a:lnTo>
                <a:lnTo>
                  <a:pt x="105" y="0"/>
                </a:lnTo>
                <a:lnTo>
                  <a:pt x="105" y="3"/>
                </a:lnTo>
                <a:lnTo>
                  <a:pt x="105" y="6"/>
                </a:lnTo>
                <a:lnTo>
                  <a:pt x="103" y="12"/>
                </a:lnTo>
                <a:lnTo>
                  <a:pt x="103" y="12"/>
                </a:lnTo>
                <a:lnTo>
                  <a:pt x="98" y="26"/>
                </a:lnTo>
                <a:lnTo>
                  <a:pt x="97" y="33"/>
                </a:lnTo>
                <a:lnTo>
                  <a:pt x="95" y="40"/>
                </a:lnTo>
                <a:lnTo>
                  <a:pt x="95" y="40"/>
                </a:lnTo>
                <a:lnTo>
                  <a:pt x="94" y="88"/>
                </a:lnTo>
                <a:lnTo>
                  <a:pt x="94" y="88"/>
                </a:lnTo>
                <a:lnTo>
                  <a:pt x="92" y="96"/>
                </a:lnTo>
                <a:lnTo>
                  <a:pt x="92" y="102"/>
                </a:lnTo>
                <a:lnTo>
                  <a:pt x="97" y="108"/>
                </a:lnTo>
                <a:lnTo>
                  <a:pt x="97" y="108"/>
                </a:lnTo>
                <a:lnTo>
                  <a:pt x="112" y="128"/>
                </a:lnTo>
                <a:lnTo>
                  <a:pt x="118" y="137"/>
                </a:lnTo>
                <a:lnTo>
                  <a:pt x="122" y="147"/>
                </a:lnTo>
                <a:lnTo>
                  <a:pt x="122" y="147"/>
                </a:lnTo>
                <a:lnTo>
                  <a:pt x="128" y="168"/>
                </a:lnTo>
                <a:lnTo>
                  <a:pt x="131" y="179"/>
                </a:lnTo>
                <a:lnTo>
                  <a:pt x="132" y="188"/>
                </a:lnTo>
                <a:lnTo>
                  <a:pt x="132" y="188"/>
                </a:lnTo>
                <a:lnTo>
                  <a:pt x="135" y="242"/>
                </a:lnTo>
                <a:lnTo>
                  <a:pt x="139" y="287"/>
                </a:lnTo>
                <a:lnTo>
                  <a:pt x="139" y="287"/>
                </a:lnTo>
                <a:lnTo>
                  <a:pt x="105" y="288"/>
                </a:lnTo>
                <a:lnTo>
                  <a:pt x="105" y="288"/>
                </a:lnTo>
                <a:lnTo>
                  <a:pt x="38" y="296"/>
                </a:lnTo>
                <a:lnTo>
                  <a:pt x="38" y="296"/>
                </a:lnTo>
                <a:lnTo>
                  <a:pt x="17" y="298"/>
                </a:lnTo>
                <a:lnTo>
                  <a:pt x="9" y="298"/>
                </a:lnTo>
                <a:lnTo>
                  <a:pt x="6" y="299"/>
                </a:lnTo>
                <a:lnTo>
                  <a:pt x="4" y="301"/>
                </a:lnTo>
                <a:lnTo>
                  <a:pt x="4" y="30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8" name="Freeform 83">
            <a:extLst>
              <a:ext uri="{FF2B5EF4-FFF2-40B4-BE49-F238E27FC236}">
                <a16:creationId xmlns:a16="http://schemas.microsoft.com/office/drawing/2014/main" id="{641FE42E-10FE-4BF6-BC7D-0D8E61617B6A}"/>
              </a:ext>
            </a:extLst>
          </p:cNvPr>
          <p:cNvSpPr>
            <a:spLocks/>
          </p:cNvSpPr>
          <p:nvPr/>
        </p:nvSpPr>
        <p:spPr bwMode="auto">
          <a:xfrm>
            <a:off x="3715386" y="3270375"/>
            <a:ext cx="102637" cy="525730"/>
          </a:xfrm>
          <a:custGeom>
            <a:avLst/>
            <a:gdLst>
              <a:gd name="T0" fmla="*/ 40 w 40"/>
              <a:gd name="T1" fmla="*/ 9 h 220"/>
              <a:gd name="T2" fmla="*/ 40 w 40"/>
              <a:gd name="T3" fmla="*/ 9 h 220"/>
              <a:gd name="T4" fmla="*/ 39 w 40"/>
              <a:gd name="T5" fmla="*/ 4 h 220"/>
              <a:gd name="T6" fmla="*/ 35 w 40"/>
              <a:gd name="T7" fmla="*/ 1 h 220"/>
              <a:gd name="T8" fmla="*/ 34 w 40"/>
              <a:gd name="T9" fmla="*/ 0 h 220"/>
              <a:gd name="T10" fmla="*/ 34 w 40"/>
              <a:gd name="T11" fmla="*/ 0 h 220"/>
              <a:gd name="T12" fmla="*/ 29 w 40"/>
              <a:gd name="T13" fmla="*/ 1 h 220"/>
              <a:gd name="T14" fmla="*/ 28 w 40"/>
              <a:gd name="T15" fmla="*/ 3 h 220"/>
              <a:gd name="T16" fmla="*/ 26 w 40"/>
              <a:gd name="T17" fmla="*/ 6 h 220"/>
              <a:gd name="T18" fmla="*/ 26 w 40"/>
              <a:gd name="T19" fmla="*/ 6 h 220"/>
              <a:gd name="T20" fmla="*/ 23 w 40"/>
              <a:gd name="T21" fmla="*/ 13 h 220"/>
              <a:gd name="T22" fmla="*/ 20 w 40"/>
              <a:gd name="T23" fmla="*/ 20 h 220"/>
              <a:gd name="T24" fmla="*/ 20 w 40"/>
              <a:gd name="T25" fmla="*/ 20 h 220"/>
              <a:gd name="T26" fmla="*/ 15 w 40"/>
              <a:gd name="T27" fmla="*/ 33 h 220"/>
              <a:gd name="T28" fmla="*/ 12 w 40"/>
              <a:gd name="T29" fmla="*/ 43 h 220"/>
              <a:gd name="T30" fmla="*/ 11 w 40"/>
              <a:gd name="T31" fmla="*/ 52 h 220"/>
              <a:gd name="T32" fmla="*/ 11 w 40"/>
              <a:gd name="T33" fmla="*/ 52 h 220"/>
              <a:gd name="T34" fmla="*/ 5 w 40"/>
              <a:gd name="T35" fmla="*/ 98 h 220"/>
              <a:gd name="T36" fmla="*/ 2 w 40"/>
              <a:gd name="T37" fmla="*/ 149 h 220"/>
              <a:gd name="T38" fmla="*/ 2 w 40"/>
              <a:gd name="T39" fmla="*/ 149 h 220"/>
              <a:gd name="T40" fmla="*/ 0 w 40"/>
              <a:gd name="T41" fmla="*/ 205 h 220"/>
              <a:gd name="T42" fmla="*/ 15 w 40"/>
              <a:gd name="T43" fmla="*/ 220 h 220"/>
              <a:gd name="T44" fmla="*/ 37 w 40"/>
              <a:gd name="T45" fmla="*/ 203 h 220"/>
              <a:gd name="T46" fmla="*/ 37 w 40"/>
              <a:gd name="T47" fmla="*/ 203 h 220"/>
              <a:gd name="T48" fmla="*/ 37 w 40"/>
              <a:gd name="T49" fmla="*/ 124 h 220"/>
              <a:gd name="T50" fmla="*/ 37 w 40"/>
              <a:gd name="T51" fmla="*/ 124 h 220"/>
              <a:gd name="T52" fmla="*/ 37 w 40"/>
              <a:gd name="T53" fmla="*/ 70 h 220"/>
              <a:gd name="T54" fmla="*/ 37 w 40"/>
              <a:gd name="T55" fmla="*/ 23 h 220"/>
              <a:gd name="T56" fmla="*/ 37 w 40"/>
              <a:gd name="T57" fmla="*/ 23 h 220"/>
              <a:gd name="T58" fmla="*/ 32 w 40"/>
              <a:gd name="T59" fmla="*/ 16 h 220"/>
              <a:gd name="T60" fmla="*/ 32 w 40"/>
              <a:gd name="T61" fmla="*/ 16 h 220"/>
              <a:gd name="T62" fmla="*/ 37 w 40"/>
              <a:gd name="T63" fmla="*/ 13 h 220"/>
              <a:gd name="T64" fmla="*/ 39 w 40"/>
              <a:gd name="T65" fmla="*/ 10 h 220"/>
              <a:gd name="T66" fmla="*/ 40 w 40"/>
              <a:gd name="T67" fmla="*/ 9 h 220"/>
              <a:gd name="T68" fmla="*/ 40 w 40"/>
              <a:gd name="T69" fmla="*/ 9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0" h="220">
                <a:moveTo>
                  <a:pt x="40" y="9"/>
                </a:moveTo>
                <a:lnTo>
                  <a:pt x="40" y="9"/>
                </a:lnTo>
                <a:lnTo>
                  <a:pt x="39" y="4"/>
                </a:lnTo>
                <a:lnTo>
                  <a:pt x="35" y="1"/>
                </a:lnTo>
                <a:lnTo>
                  <a:pt x="34" y="0"/>
                </a:lnTo>
                <a:lnTo>
                  <a:pt x="34" y="0"/>
                </a:lnTo>
                <a:lnTo>
                  <a:pt x="29" y="1"/>
                </a:lnTo>
                <a:lnTo>
                  <a:pt x="28" y="3"/>
                </a:lnTo>
                <a:lnTo>
                  <a:pt x="26" y="6"/>
                </a:lnTo>
                <a:lnTo>
                  <a:pt x="26" y="6"/>
                </a:lnTo>
                <a:lnTo>
                  <a:pt x="23" y="13"/>
                </a:lnTo>
                <a:lnTo>
                  <a:pt x="20" y="20"/>
                </a:lnTo>
                <a:lnTo>
                  <a:pt x="20" y="20"/>
                </a:lnTo>
                <a:lnTo>
                  <a:pt x="15" y="33"/>
                </a:lnTo>
                <a:lnTo>
                  <a:pt x="12" y="43"/>
                </a:lnTo>
                <a:lnTo>
                  <a:pt x="11" y="52"/>
                </a:lnTo>
                <a:lnTo>
                  <a:pt x="11" y="52"/>
                </a:lnTo>
                <a:lnTo>
                  <a:pt x="5" y="98"/>
                </a:lnTo>
                <a:lnTo>
                  <a:pt x="2" y="149"/>
                </a:lnTo>
                <a:lnTo>
                  <a:pt x="2" y="149"/>
                </a:lnTo>
                <a:lnTo>
                  <a:pt x="0" y="205"/>
                </a:lnTo>
                <a:lnTo>
                  <a:pt x="15" y="220"/>
                </a:lnTo>
                <a:lnTo>
                  <a:pt x="37" y="203"/>
                </a:lnTo>
                <a:lnTo>
                  <a:pt x="37" y="203"/>
                </a:lnTo>
                <a:lnTo>
                  <a:pt x="37" y="124"/>
                </a:lnTo>
                <a:lnTo>
                  <a:pt x="37" y="124"/>
                </a:lnTo>
                <a:lnTo>
                  <a:pt x="37" y="70"/>
                </a:lnTo>
                <a:lnTo>
                  <a:pt x="37" y="23"/>
                </a:lnTo>
                <a:lnTo>
                  <a:pt x="37" y="23"/>
                </a:lnTo>
                <a:lnTo>
                  <a:pt x="32" y="16"/>
                </a:lnTo>
                <a:lnTo>
                  <a:pt x="32" y="16"/>
                </a:lnTo>
                <a:lnTo>
                  <a:pt x="37" y="13"/>
                </a:lnTo>
                <a:lnTo>
                  <a:pt x="39" y="10"/>
                </a:lnTo>
                <a:lnTo>
                  <a:pt x="40" y="9"/>
                </a:lnTo>
                <a:lnTo>
                  <a:pt x="40" y="9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02812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22aaf9e968d_4_293"/>
          <p:cNvSpPr txBox="1">
            <a:spLocks noGrp="1"/>
          </p:cNvSpPr>
          <p:nvPr>
            <p:ph type="title"/>
          </p:nvPr>
        </p:nvSpPr>
        <p:spPr>
          <a:xfrm>
            <a:off x="442950" y="388636"/>
            <a:ext cx="11306100" cy="49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SzPts val="1100"/>
            </a:pPr>
            <a:r>
              <a:rPr lang="en-IN" sz="2400" dirty="0"/>
              <a:t>A tough balancing act for the founders </a:t>
            </a:r>
            <a:endParaRPr sz="2400" dirty="0"/>
          </a:p>
        </p:txBody>
      </p:sp>
      <p:sp>
        <p:nvSpPr>
          <p:cNvPr id="65" name="Google Shape;8271;p430">
            <a:extLst>
              <a:ext uri="{FF2B5EF4-FFF2-40B4-BE49-F238E27FC236}">
                <a16:creationId xmlns:a16="http://schemas.microsoft.com/office/drawing/2014/main" id="{0B78EE41-745C-4C7D-8AFE-E526166513BD}"/>
              </a:ext>
            </a:extLst>
          </p:cNvPr>
          <p:cNvSpPr/>
          <p:nvPr/>
        </p:nvSpPr>
        <p:spPr>
          <a:xfrm>
            <a:off x="6791372" y="1980500"/>
            <a:ext cx="5040000" cy="628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sp>
        <p:nvSpPr>
          <p:cNvPr id="66" name="Google Shape;8272;p430">
            <a:extLst>
              <a:ext uri="{FF2B5EF4-FFF2-40B4-BE49-F238E27FC236}">
                <a16:creationId xmlns:a16="http://schemas.microsoft.com/office/drawing/2014/main" id="{D0E85AD0-2613-4172-AED4-EE371B52F153}"/>
              </a:ext>
            </a:extLst>
          </p:cNvPr>
          <p:cNvSpPr/>
          <p:nvPr/>
        </p:nvSpPr>
        <p:spPr>
          <a:xfrm>
            <a:off x="7087328" y="1893500"/>
            <a:ext cx="297200" cy="236800"/>
          </a:xfrm>
          <a:prstGeom prst="rect">
            <a:avLst/>
          </a:prstGeom>
          <a:solidFill>
            <a:srgbClr val="E0301E"/>
          </a:solidFill>
          <a:ln w="9525" cap="flat" cmpd="sng">
            <a:solidFill>
              <a:srgbClr val="E0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cxnSp>
        <p:nvCxnSpPr>
          <p:cNvPr id="67" name="Google Shape;8273;p430">
            <a:extLst>
              <a:ext uri="{FF2B5EF4-FFF2-40B4-BE49-F238E27FC236}">
                <a16:creationId xmlns:a16="http://schemas.microsoft.com/office/drawing/2014/main" id="{78135EAF-248E-4B25-8029-93D25DBF4ED7}"/>
              </a:ext>
            </a:extLst>
          </p:cNvPr>
          <p:cNvCxnSpPr>
            <a:stCxn id="66" idx="0"/>
          </p:cNvCxnSpPr>
          <p:nvPr/>
        </p:nvCxnSpPr>
        <p:spPr>
          <a:xfrm rot="10800000">
            <a:off x="7235928" y="1577500"/>
            <a:ext cx="0" cy="316000"/>
          </a:xfrm>
          <a:prstGeom prst="straightConnector1">
            <a:avLst/>
          </a:prstGeom>
          <a:noFill/>
          <a:ln w="9525" cap="flat" cmpd="sng">
            <a:solidFill>
              <a:srgbClr val="E0301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8" name="Google Shape;8274;p430">
            <a:extLst>
              <a:ext uri="{FF2B5EF4-FFF2-40B4-BE49-F238E27FC236}">
                <a16:creationId xmlns:a16="http://schemas.microsoft.com/office/drawing/2014/main" id="{29BAA25E-1CF0-4B60-A275-DDEFF4B4E09D}"/>
              </a:ext>
            </a:extLst>
          </p:cNvPr>
          <p:cNvSpPr/>
          <p:nvPr/>
        </p:nvSpPr>
        <p:spPr>
          <a:xfrm>
            <a:off x="11260786" y="1893500"/>
            <a:ext cx="297200" cy="236800"/>
          </a:xfrm>
          <a:prstGeom prst="rect">
            <a:avLst/>
          </a:prstGeom>
          <a:solidFill>
            <a:srgbClr val="E0301E"/>
          </a:solidFill>
          <a:ln w="9525" cap="flat" cmpd="sng">
            <a:solidFill>
              <a:srgbClr val="E0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cxnSp>
        <p:nvCxnSpPr>
          <p:cNvPr id="69" name="Google Shape;8275;p430">
            <a:extLst>
              <a:ext uri="{FF2B5EF4-FFF2-40B4-BE49-F238E27FC236}">
                <a16:creationId xmlns:a16="http://schemas.microsoft.com/office/drawing/2014/main" id="{1833BA58-035A-4B8D-9672-96A4F78777CA}"/>
              </a:ext>
            </a:extLst>
          </p:cNvPr>
          <p:cNvCxnSpPr>
            <a:stCxn id="68" idx="0"/>
          </p:cNvCxnSpPr>
          <p:nvPr/>
        </p:nvCxnSpPr>
        <p:spPr>
          <a:xfrm rot="10800000">
            <a:off x="11409386" y="1577500"/>
            <a:ext cx="0" cy="316000"/>
          </a:xfrm>
          <a:prstGeom prst="straightConnector1">
            <a:avLst/>
          </a:prstGeom>
          <a:noFill/>
          <a:ln w="9525" cap="flat" cmpd="sng">
            <a:solidFill>
              <a:srgbClr val="E0301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5" name="Google Shape;8326;p430">
            <a:extLst>
              <a:ext uri="{FF2B5EF4-FFF2-40B4-BE49-F238E27FC236}">
                <a16:creationId xmlns:a16="http://schemas.microsoft.com/office/drawing/2014/main" id="{873E2908-723D-4AEB-BCCF-3E39B405CE05}"/>
              </a:ext>
            </a:extLst>
          </p:cNvPr>
          <p:cNvSpPr/>
          <p:nvPr/>
        </p:nvSpPr>
        <p:spPr>
          <a:xfrm>
            <a:off x="6788206" y="1181759"/>
            <a:ext cx="5040000" cy="498400"/>
          </a:xfrm>
          <a:prstGeom prst="roundRect">
            <a:avLst>
              <a:gd name="adj" fmla="val 16667"/>
            </a:avLst>
          </a:prstGeom>
          <a:solidFill>
            <a:srgbClr val="2D2D2D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>
              <a:buSzPts val="1100"/>
            </a:pPr>
            <a:r>
              <a:rPr lang="en" sz="1333" b="1" dirty="0">
                <a:solidFill>
                  <a:srgbClr val="FFFFFF"/>
                </a:solidFill>
                <a:latin typeface="Georgia" panose="02040502050405020303" pitchFamily="18" charset="0"/>
              </a:rPr>
              <a:t>Governance Risks For Consideration</a:t>
            </a:r>
            <a:endParaRPr sz="1333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77" name="Google Shape;8334;p430">
            <a:extLst>
              <a:ext uri="{FF2B5EF4-FFF2-40B4-BE49-F238E27FC236}">
                <a16:creationId xmlns:a16="http://schemas.microsoft.com/office/drawing/2014/main" id="{CEEB868B-0C17-4A7E-9DDB-85BD0EB598C6}"/>
              </a:ext>
            </a:extLst>
          </p:cNvPr>
          <p:cNvSpPr/>
          <p:nvPr/>
        </p:nvSpPr>
        <p:spPr>
          <a:xfrm>
            <a:off x="11365793" y="1968259"/>
            <a:ext cx="87200" cy="872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sp>
        <p:nvSpPr>
          <p:cNvPr id="78" name="Google Shape;8335;p430">
            <a:extLst>
              <a:ext uri="{FF2B5EF4-FFF2-40B4-BE49-F238E27FC236}">
                <a16:creationId xmlns:a16="http://schemas.microsoft.com/office/drawing/2014/main" id="{E72AFDC1-6327-48CC-BC06-18A394932F51}"/>
              </a:ext>
            </a:extLst>
          </p:cNvPr>
          <p:cNvSpPr/>
          <p:nvPr/>
        </p:nvSpPr>
        <p:spPr>
          <a:xfrm>
            <a:off x="7192339" y="1968259"/>
            <a:ext cx="87200" cy="872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sp>
        <p:nvSpPr>
          <p:cNvPr id="81" name="Google Shape;8255;p243">
            <a:extLst>
              <a:ext uri="{FF2B5EF4-FFF2-40B4-BE49-F238E27FC236}">
                <a16:creationId xmlns:a16="http://schemas.microsoft.com/office/drawing/2014/main" id="{A49D1879-9D7B-449B-BAA2-6581B31F9177}"/>
              </a:ext>
            </a:extLst>
          </p:cNvPr>
          <p:cNvSpPr/>
          <p:nvPr/>
        </p:nvSpPr>
        <p:spPr>
          <a:xfrm>
            <a:off x="8042050" y="2830701"/>
            <a:ext cx="2566200" cy="25662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2" name="Google Shape;8257;p243">
            <a:extLst>
              <a:ext uri="{FF2B5EF4-FFF2-40B4-BE49-F238E27FC236}">
                <a16:creationId xmlns:a16="http://schemas.microsoft.com/office/drawing/2014/main" id="{0C8F84BC-BCB8-4FD0-A4BC-946D4053F16E}"/>
              </a:ext>
            </a:extLst>
          </p:cNvPr>
          <p:cNvSpPr/>
          <p:nvPr/>
        </p:nvSpPr>
        <p:spPr>
          <a:xfrm>
            <a:off x="8729045" y="3483352"/>
            <a:ext cx="1192200" cy="1192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3" name="Google Shape;8258;p243">
            <a:extLst>
              <a:ext uri="{FF2B5EF4-FFF2-40B4-BE49-F238E27FC236}">
                <a16:creationId xmlns:a16="http://schemas.microsoft.com/office/drawing/2014/main" id="{3B6DC161-A92C-4FC0-BCF0-3BCB31751F6A}"/>
              </a:ext>
            </a:extLst>
          </p:cNvPr>
          <p:cNvSpPr/>
          <p:nvPr/>
        </p:nvSpPr>
        <p:spPr>
          <a:xfrm>
            <a:off x="9057944" y="5092462"/>
            <a:ext cx="534000" cy="5340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4" name="Google Shape;8259;p243">
            <a:extLst>
              <a:ext uri="{FF2B5EF4-FFF2-40B4-BE49-F238E27FC236}">
                <a16:creationId xmlns:a16="http://schemas.microsoft.com/office/drawing/2014/main" id="{019DDA7E-9DDF-4A1A-949B-28330D3F9171}"/>
              </a:ext>
            </a:extLst>
          </p:cNvPr>
          <p:cNvSpPr/>
          <p:nvPr/>
        </p:nvSpPr>
        <p:spPr>
          <a:xfrm>
            <a:off x="9057944" y="2643818"/>
            <a:ext cx="534000" cy="5340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5" name="Google Shape;8260;p243">
            <a:extLst>
              <a:ext uri="{FF2B5EF4-FFF2-40B4-BE49-F238E27FC236}">
                <a16:creationId xmlns:a16="http://schemas.microsoft.com/office/drawing/2014/main" id="{096ACD4B-B6B7-45D7-8AD9-02C5D09A7B5B}"/>
              </a:ext>
            </a:extLst>
          </p:cNvPr>
          <p:cNvSpPr/>
          <p:nvPr/>
        </p:nvSpPr>
        <p:spPr>
          <a:xfrm rot="1800248">
            <a:off x="8309860" y="4937459"/>
            <a:ext cx="534533" cy="53427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6" name="Google Shape;8261;p243">
            <a:extLst>
              <a:ext uri="{FF2B5EF4-FFF2-40B4-BE49-F238E27FC236}">
                <a16:creationId xmlns:a16="http://schemas.microsoft.com/office/drawing/2014/main" id="{353F584C-070E-414D-A757-BA74C51B0B59}"/>
              </a:ext>
            </a:extLst>
          </p:cNvPr>
          <p:cNvSpPr/>
          <p:nvPr/>
        </p:nvSpPr>
        <p:spPr>
          <a:xfrm rot="1800248">
            <a:off x="9805665" y="2820447"/>
            <a:ext cx="534533" cy="53427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7" name="Google Shape;8262;p243">
            <a:extLst>
              <a:ext uri="{FF2B5EF4-FFF2-40B4-BE49-F238E27FC236}">
                <a16:creationId xmlns:a16="http://schemas.microsoft.com/office/drawing/2014/main" id="{5B7318F7-B901-4C0F-8F68-729774A9809A}"/>
              </a:ext>
            </a:extLst>
          </p:cNvPr>
          <p:cNvSpPr/>
          <p:nvPr/>
        </p:nvSpPr>
        <p:spPr>
          <a:xfrm rot="-1798577">
            <a:off x="9885168" y="4868881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8" name="Google Shape;8263;p243">
            <a:extLst>
              <a:ext uri="{FF2B5EF4-FFF2-40B4-BE49-F238E27FC236}">
                <a16:creationId xmlns:a16="http://schemas.microsoft.com/office/drawing/2014/main" id="{E86C2E45-BFC8-405C-B1E5-4F59A74CE56B}"/>
              </a:ext>
            </a:extLst>
          </p:cNvPr>
          <p:cNvSpPr/>
          <p:nvPr/>
        </p:nvSpPr>
        <p:spPr>
          <a:xfrm rot="-1798577">
            <a:off x="8309943" y="2820323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89" name="Google Shape;8264;p243">
            <a:extLst>
              <a:ext uri="{FF2B5EF4-FFF2-40B4-BE49-F238E27FC236}">
                <a16:creationId xmlns:a16="http://schemas.microsoft.com/office/drawing/2014/main" id="{AB10B819-B8B4-4F11-8AD2-948BF9533396}"/>
              </a:ext>
            </a:extLst>
          </p:cNvPr>
          <p:cNvSpPr/>
          <p:nvPr/>
        </p:nvSpPr>
        <p:spPr>
          <a:xfrm rot="-1798577">
            <a:off x="7861287" y="3461870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90" name="Google Shape;8265;p243">
            <a:extLst>
              <a:ext uri="{FF2B5EF4-FFF2-40B4-BE49-F238E27FC236}">
                <a16:creationId xmlns:a16="http://schemas.microsoft.com/office/drawing/2014/main" id="{AB70A2A0-4996-440E-9360-3B7DE4C32117}"/>
              </a:ext>
            </a:extLst>
          </p:cNvPr>
          <p:cNvSpPr/>
          <p:nvPr/>
        </p:nvSpPr>
        <p:spPr>
          <a:xfrm rot="-1798577">
            <a:off x="10185291" y="3461870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91" name="Google Shape;8266;p243">
            <a:extLst>
              <a:ext uri="{FF2B5EF4-FFF2-40B4-BE49-F238E27FC236}">
                <a16:creationId xmlns:a16="http://schemas.microsoft.com/office/drawing/2014/main" id="{A66A8D82-ED3F-4658-82DE-90046034809E}"/>
              </a:ext>
            </a:extLst>
          </p:cNvPr>
          <p:cNvSpPr/>
          <p:nvPr/>
        </p:nvSpPr>
        <p:spPr>
          <a:xfrm rot="-1798577">
            <a:off x="7907702" y="4182698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92" name="Google Shape;8267;p243">
            <a:extLst>
              <a:ext uri="{FF2B5EF4-FFF2-40B4-BE49-F238E27FC236}">
                <a16:creationId xmlns:a16="http://schemas.microsoft.com/office/drawing/2014/main" id="{2A21AF0E-6BBA-426F-A41A-80E2D7DEE7AD}"/>
              </a:ext>
            </a:extLst>
          </p:cNvPr>
          <p:cNvSpPr/>
          <p:nvPr/>
        </p:nvSpPr>
        <p:spPr>
          <a:xfrm rot="-1798577">
            <a:off x="10231706" y="4182698"/>
            <a:ext cx="534383" cy="534383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Georgia" panose="02040502050405020303" pitchFamily="18" charset="0"/>
            </a:endParaRPr>
          </a:p>
        </p:txBody>
      </p:sp>
      <p:sp>
        <p:nvSpPr>
          <p:cNvPr id="93" name="Google Shape;8268;p243">
            <a:extLst>
              <a:ext uri="{FF2B5EF4-FFF2-40B4-BE49-F238E27FC236}">
                <a16:creationId xmlns:a16="http://schemas.microsoft.com/office/drawing/2014/main" id="{BAF2F6A6-ED5C-4279-B491-652566E3DF2B}"/>
              </a:ext>
            </a:extLst>
          </p:cNvPr>
          <p:cNvSpPr txBox="1"/>
          <p:nvPr/>
        </p:nvSpPr>
        <p:spPr>
          <a:xfrm>
            <a:off x="8697549" y="3315867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1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4" name="Google Shape;8269;p243">
            <a:extLst>
              <a:ext uri="{FF2B5EF4-FFF2-40B4-BE49-F238E27FC236}">
                <a16:creationId xmlns:a16="http://schemas.microsoft.com/office/drawing/2014/main" id="{008FFC4C-089E-41FA-A00B-BCD7A2CF7DF2}"/>
              </a:ext>
            </a:extLst>
          </p:cNvPr>
          <p:cNvSpPr txBox="1"/>
          <p:nvPr/>
        </p:nvSpPr>
        <p:spPr>
          <a:xfrm>
            <a:off x="9230891" y="3186892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2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5" name="Google Shape;8270;p243">
            <a:extLst>
              <a:ext uri="{FF2B5EF4-FFF2-40B4-BE49-F238E27FC236}">
                <a16:creationId xmlns:a16="http://schemas.microsoft.com/office/drawing/2014/main" id="{D6B0A491-B8EB-439A-A301-1C493832E8C4}"/>
              </a:ext>
            </a:extLst>
          </p:cNvPr>
          <p:cNvSpPr txBox="1"/>
          <p:nvPr/>
        </p:nvSpPr>
        <p:spPr>
          <a:xfrm>
            <a:off x="9756484" y="3315867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3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6" name="Google Shape;8271;p243">
            <a:extLst>
              <a:ext uri="{FF2B5EF4-FFF2-40B4-BE49-F238E27FC236}">
                <a16:creationId xmlns:a16="http://schemas.microsoft.com/office/drawing/2014/main" id="{7D34701E-82B2-47A0-849A-C1C59B7E9A60}"/>
              </a:ext>
            </a:extLst>
          </p:cNvPr>
          <p:cNvSpPr txBox="1"/>
          <p:nvPr/>
        </p:nvSpPr>
        <p:spPr>
          <a:xfrm>
            <a:off x="9955728" y="3751519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4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7" name="Google Shape;8272;p243">
            <a:extLst>
              <a:ext uri="{FF2B5EF4-FFF2-40B4-BE49-F238E27FC236}">
                <a16:creationId xmlns:a16="http://schemas.microsoft.com/office/drawing/2014/main" id="{B73E80DE-56D8-4505-A8F9-30FF6C625D7C}"/>
              </a:ext>
            </a:extLst>
          </p:cNvPr>
          <p:cNvSpPr txBox="1"/>
          <p:nvPr/>
        </p:nvSpPr>
        <p:spPr>
          <a:xfrm>
            <a:off x="9979150" y="4284919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5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8" name="Google Shape;8273;p243">
            <a:extLst>
              <a:ext uri="{FF2B5EF4-FFF2-40B4-BE49-F238E27FC236}">
                <a16:creationId xmlns:a16="http://schemas.microsoft.com/office/drawing/2014/main" id="{2DF7A1FE-9C55-44C7-B120-08E1C85178B9}"/>
              </a:ext>
            </a:extLst>
          </p:cNvPr>
          <p:cNvSpPr txBox="1"/>
          <p:nvPr/>
        </p:nvSpPr>
        <p:spPr>
          <a:xfrm>
            <a:off x="9773973" y="4704956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6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99" name="Google Shape;8274;p243">
            <a:extLst>
              <a:ext uri="{FF2B5EF4-FFF2-40B4-BE49-F238E27FC236}">
                <a16:creationId xmlns:a16="http://schemas.microsoft.com/office/drawing/2014/main" id="{24B7E704-7681-47D0-B351-E72CDD8B6CAC}"/>
              </a:ext>
            </a:extLst>
          </p:cNvPr>
          <p:cNvSpPr txBox="1"/>
          <p:nvPr/>
        </p:nvSpPr>
        <p:spPr>
          <a:xfrm>
            <a:off x="9240573" y="4812385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7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100" name="Google Shape;8275;p243">
            <a:extLst>
              <a:ext uri="{FF2B5EF4-FFF2-40B4-BE49-F238E27FC236}">
                <a16:creationId xmlns:a16="http://schemas.microsoft.com/office/drawing/2014/main" id="{F6C97193-B2D1-4D6E-9EB4-27AE6EE06FEF}"/>
              </a:ext>
            </a:extLst>
          </p:cNvPr>
          <p:cNvSpPr txBox="1"/>
          <p:nvPr/>
        </p:nvSpPr>
        <p:spPr>
          <a:xfrm>
            <a:off x="8707173" y="4704956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8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101" name="Google Shape;8276;p243">
            <a:extLst>
              <a:ext uri="{FF2B5EF4-FFF2-40B4-BE49-F238E27FC236}">
                <a16:creationId xmlns:a16="http://schemas.microsoft.com/office/drawing/2014/main" id="{4F2A70E8-D599-4DEB-A8B8-68D1ADACF700}"/>
              </a:ext>
            </a:extLst>
          </p:cNvPr>
          <p:cNvSpPr txBox="1"/>
          <p:nvPr/>
        </p:nvSpPr>
        <p:spPr>
          <a:xfrm>
            <a:off x="8478573" y="4284919"/>
            <a:ext cx="20070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9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102" name="Google Shape;8277;p243">
            <a:extLst>
              <a:ext uri="{FF2B5EF4-FFF2-40B4-BE49-F238E27FC236}">
                <a16:creationId xmlns:a16="http://schemas.microsoft.com/office/drawing/2014/main" id="{D8ADD84F-5B21-4ACA-B9A9-575936E7F6AE}"/>
              </a:ext>
            </a:extLst>
          </p:cNvPr>
          <p:cNvSpPr txBox="1"/>
          <p:nvPr/>
        </p:nvSpPr>
        <p:spPr>
          <a:xfrm>
            <a:off x="8423921" y="3743711"/>
            <a:ext cx="25535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latin typeface="Georgia" panose="02040502050405020303" pitchFamily="18" charset="0"/>
              </a:rPr>
              <a:t>10</a:t>
            </a:r>
            <a:endParaRPr b="1" dirty="0">
              <a:latin typeface="Georgia" panose="02040502050405020303" pitchFamily="18" charset="0"/>
            </a:endParaRPr>
          </a:p>
        </p:txBody>
      </p:sp>
      <p:grpSp>
        <p:nvGrpSpPr>
          <p:cNvPr id="103" name="Google Shape;8278;p243">
            <a:extLst>
              <a:ext uri="{FF2B5EF4-FFF2-40B4-BE49-F238E27FC236}">
                <a16:creationId xmlns:a16="http://schemas.microsoft.com/office/drawing/2014/main" id="{5E303E84-8FD3-44F9-AAD3-A76B52294AF7}"/>
              </a:ext>
            </a:extLst>
          </p:cNvPr>
          <p:cNvGrpSpPr/>
          <p:nvPr/>
        </p:nvGrpSpPr>
        <p:grpSpPr>
          <a:xfrm>
            <a:off x="8441191" y="2949877"/>
            <a:ext cx="275463" cy="275417"/>
            <a:chOff x="3519218" y="2560815"/>
            <a:chExt cx="457200" cy="457200"/>
          </a:xfrm>
        </p:grpSpPr>
        <p:grpSp>
          <p:nvGrpSpPr>
            <p:cNvPr id="104" name="Google Shape;8279;p243">
              <a:extLst>
                <a:ext uri="{FF2B5EF4-FFF2-40B4-BE49-F238E27FC236}">
                  <a16:creationId xmlns:a16="http://schemas.microsoft.com/office/drawing/2014/main" id="{45A412A5-FEFA-4CA3-B5DC-12C546EBF4D0}"/>
                </a:ext>
              </a:extLst>
            </p:cNvPr>
            <p:cNvGrpSpPr/>
            <p:nvPr/>
          </p:nvGrpSpPr>
          <p:grpSpPr>
            <a:xfrm>
              <a:off x="3519218" y="2560815"/>
              <a:ext cx="457200" cy="457200"/>
              <a:chOff x="3519218" y="2560815"/>
              <a:chExt cx="457200" cy="457200"/>
            </a:xfrm>
          </p:grpSpPr>
          <p:sp>
            <p:nvSpPr>
              <p:cNvPr id="130" name="Google Shape;8280;p243">
                <a:extLst>
                  <a:ext uri="{FF2B5EF4-FFF2-40B4-BE49-F238E27FC236}">
                    <a16:creationId xmlns:a16="http://schemas.microsoft.com/office/drawing/2014/main" id="{4118DDBF-C34A-48B4-A32A-BAE888479864}"/>
                  </a:ext>
                </a:extLst>
              </p:cNvPr>
              <p:cNvSpPr/>
              <p:nvPr/>
            </p:nvSpPr>
            <p:spPr>
              <a:xfrm>
                <a:off x="3519218" y="2560815"/>
                <a:ext cx="457200" cy="457200"/>
              </a:xfrm>
              <a:custGeom>
                <a:avLst/>
                <a:gdLst/>
                <a:ahLst/>
                <a:cxnLst/>
                <a:rect l="l" t="t" r="r" b="b"/>
                <a:pathLst>
                  <a:path w="457200" h="457200" extrusionOk="0">
                    <a:moveTo>
                      <a:pt x="457200" y="362458"/>
                    </a:moveTo>
                    <a:lnTo>
                      <a:pt x="457200" y="0"/>
                    </a:lnTo>
                    <a:lnTo>
                      <a:pt x="0" y="0"/>
                    </a:lnTo>
                    <a:lnTo>
                      <a:pt x="0" y="362458"/>
                    </a:lnTo>
                    <a:lnTo>
                      <a:pt x="190691" y="362458"/>
                    </a:lnTo>
                    <a:lnTo>
                      <a:pt x="190691" y="399034"/>
                    </a:lnTo>
                    <a:lnTo>
                      <a:pt x="126619" y="399034"/>
                    </a:lnTo>
                    <a:lnTo>
                      <a:pt x="126619" y="457200"/>
                    </a:lnTo>
                    <a:lnTo>
                      <a:pt x="328930" y="457200"/>
                    </a:lnTo>
                    <a:lnTo>
                      <a:pt x="328930" y="399034"/>
                    </a:lnTo>
                    <a:lnTo>
                      <a:pt x="264890" y="399034"/>
                    </a:lnTo>
                    <a:lnTo>
                      <a:pt x="264890" y="362458"/>
                    </a:lnTo>
                    <a:close/>
                    <a:moveTo>
                      <a:pt x="146050" y="437737"/>
                    </a:moveTo>
                    <a:lnTo>
                      <a:pt x="146050" y="418497"/>
                    </a:lnTo>
                    <a:lnTo>
                      <a:pt x="309467" y="418497"/>
                    </a:lnTo>
                    <a:lnTo>
                      <a:pt x="309467" y="437737"/>
                    </a:lnTo>
                    <a:close/>
                    <a:moveTo>
                      <a:pt x="210090" y="399034"/>
                    </a:moveTo>
                    <a:lnTo>
                      <a:pt x="210090" y="362458"/>
                    </a:lnTo>
                    <a:lnTo>
                      <a:pt x="245332" y="362458"/>
                    </a:lnTo>
                    <a:lnTo>
                      <a:pt x="245332" y="399034"/>
                    </a:lnTo>
                    <a:close/>
                    <a:moveTo>
                      <a:pt x="437579" y="286385"/>
                    </a:moveTo>
                    <a:lnTo>
                      <a:pt x="437579" y="341630"/>
                    </a:lnTo>
                    <a:lnTo>
                      <a:pt x="19336" y="341630"/>
                    </a:lnTo>
                    <a:lnTo>
                      <a:pt x="19336" y="286385"/>
                    </a:lnTo>
                    <a:close/>
                    <a:moveTo>
                      <a:pt x="437579" y="19463"/>
                    </a:moveTo>
                    <a:lnTo>
                      <a:pt x="437579" y="265557"/>
                    </a:lnTo>
                    <a:lnTo>
                      <a:pt x="19336" y="265557"/>
                    </a:lnTo>
                    <a:lnTo>
                      <a:pt x="19336" y="194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 dirty="0">
                  <a:solidFill>
                    <a:srgbClr val="D04A02"/>
                  </a:solidFill>
                  <a:latin typeface="Georgia" panose="02040502050405020303" pitchFamily="18" charset="0"/>
                  <a:sym typeface="Arial"/>
                </a:endParaRPr>
              </a:p>
            </p:txBody>
          </p:sp>
          <p:sp>
            <p:nvSpPr>
              <p:cNvPr id="131" name="Google Shape;8281;p243">
                <a:extLst>
                  <a:ext uri="{FF2B5EF4-FFF2-40B4-BE49-F238E27FC236}">
                    <a16:creationId xmlns:a16="http://schemas.microsoft.com/office/drawing/2014/main" id="{6534394B-4924-4252-9F49-D58901922973}"/>
                  </a:ext>
                </a:extLst>
              </p:cNvPr>
              <p:cNvSpPr/>
              <p:nvPr/>
            </p:nvSpPr>
            <p:spPr>
              <a:xfrm>
                <a:off x="3737943" y="2865075"/>
                <a:ext cx="19462" cy="19462"/>
              </a:xfrm>
              <a:custGeom>
                <a:avLst/>
                <a:gdLst/>
                <a:ahLst/>
                <a:cxnLst/>
                <a:rect l="l" t="t" r="r" b="b"/>
                <a:pathLst>
                  <a:path w="19462" h="19462" extrusionOk="0">
                    <a:moveTo>
                      <a:pt x="0" y="0"/>
                    </a:moveTo>
                    <a:lnTo>
                      <a:pt x="19463" y="0"/>
                    </a:lnTo>
                    <a:lnTo>
                      <a:pt x="19463" y="19463"/>
                    </a:lnTo>
                    <a:lnTo>
                      <a:pt x="0" y="194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700" b="1" dirty="0">
                  <a:solidFill>
                    <a:srgbClr val="D04A02"/>
                  </a:solidFill>
                  <a:latin typeface="Georgia" panose="02040502050405020303" pitchFamily="18" charset="0"/>
                  <a:sym typeface="Arial"/>
                </a:endParaRPr>
              </a:p>
            </p:txBody>
          </p:sp>
        </p:grpSp>
        <p:sp>
          <p:nvSpPr>
            <p:cNvPr id="126" name="Google Shape;8282;p243">
              <a:extLst>
                <a:ext uri="{FF2B5EF4-FFF2-40B4-BE49-F238E27FC236}">
                  <a16:creationId xmlns:a16="http://schemas.microsoft.com/office/drawing/2014/main" id="{F5C6E550-7326-4BC4-8DD2-18E289D2BBE9}"/>
                </a:ext>
              </a:extLst>
            </p:cNvPr>
            <p:cNvSpPr/>
            <p:nvPr/>
          </p:nvSpPr>
          <p:spPr>
            <a:xfrm>
              <a:off x="3618024" y="2655207"/>
              <a:ext cx="153733" cy="154336"/>
            </a:xfrm>
            <a:custGeom>
              <a:avLst/>
              <a:gdLst/>
              <a:ahLst/>
              <a:cxnLst/>
              <a:rect l="l" t="t" r="r" b="b"/>
              <a:pathLst>
                <a:path w="153733" h="154336" extrusionOk="0">
                  <a:moveTo>
                    <a:pt x="153702" y="96107"/>
                  </a:moveTo>
                  <a:lnTo>
                    <a:pt x="153448" y="57087"/>
                  </a:lnTo>
                  <a:lnTo>
                    <a:pt x="153448" y="55277"/>
                  </a:lnTo>
                  <a:lnTo>
                    <a:pt x="151702" y="54832"/>
                  </a:lnTo>
                  <a:lnTo>
                    <a:pt x="134080" y="50673"/>
                  </a:lnTo>
                  <a:cubicBezTo>
                    <a:pt x="132360" y="46968"/>
                    <a:pt x="130287" y="43438"/>
                    <a:pt x="127889" y="40132"/>
                  </a:cubicBezTo>
                  <a:lnTo>
                    <a:pt x="132779" y="22606"/>
                  </a:lnTo>
                  <a:lnTo>
                    <a:pt x="133287" y="20892"/>
                  </a:lnTo>
                  <a:lnTo>
                    <a:pt x="131731" y="20002"/>
                  </a:lnTo>
                  <a:lnTo>
                    <a:pt x="98044" y="857"/>
                  </a:lnTo>
                  <a:lnTo>
                    <a:pt x="96488" y="0"/>
                  </a:lnTo>
                  <a:lnTo>
                    <a:pt x="95282" y="1270"/>
                  </a:lnTo>
                  <a:lnTo>
                    <a:pt x="82582" y="14383"/>
                  </a:lnTo>
                  <a:cubicBezTo>
                    <a:pt x="80677" y="14192"/>
                    <a:pt x="78899" y="14097"/>
                    <a:pt x="77216" y="14097"/>
                  </a:cubicBezTo>
                  <a:lnTo>
                    <a:pt x="76486" y="14097"/>
                  </a:lnTo>
                  <a:cubicBezTo>
                    <a:pt x="74439" y="14110"/>
                    <a:pt x="72393" y="14226"/>
                    <a:pt x="70358" y="14446"/>
                  </a:cubicBezTo>
                  <a:lnTo>
                    <a:pt x="57658" y="1492"/>
                  </a:lnTo>
                  <a:lnTo>
                    <a:pt x="56420" y="222"/>
                  </a:lnTo>
                  <a:lnTo>
                    <a:pt x="54864" y="1143"/>
                  </a:lnTo>
                  <a:lnTo>
                    <a:pt x="21304" y="20733"/>
                  </a:lnTo>
                  <a:lnTo>
                    <a:pt x="19780" y="21622"/>
                  </a:lnTo>
                  <a:lnTo>
                    <a:pt x="20256" y="23336"/>
                  </a:lnTo>
                  <a:lnTo>
                    <a:pt x="25400" y="40799"/>
                  </a:lnTo>
                  <a:cubicBezTo>
                    <a:pt x="23031" y="44129"/>
                    <a:pt x="20990" y="47681"/>
                    <a:pt x="19304" y="51403"/>
                  </a:cubicBezTo>
                  <a:lnTo>
                    <a:pt x="1746" y="55690"/>
                  </a:lnTo>
                  <a:lnTo>
                    <a:pt x="0" y="56134"/>
                  </a:lnTo>
                  <a:lnTo>
                    <a:pt x="0" y="58007"/>
                  </a:lnTo>
                  <a:lnTo>
                    <a:pt x="254" y="97092"/>
                  </a:lnTo>
                  <a:lnTo>
                    <a:pt x="254" y="98870"/>
                  </a:lnTo>
                  <a:lnTo>
                    <a:pt x="1968" y="99282"/>
                  </a:lnTo>
                  <a:lnTo>
                    <a:pt x="19590" y="103600"/>
                  </a:lnTo>
                  <a:cubicBezTo>
                    <a:pt x="21374" y="107294"/>
                    <a:pt x="23500" y="110812"/>
                    <a:pt x="25940" y="114109"/>
                  </a:cubicBezTo>
                  <a:lnTo>
                    <a:pt x="21050" y="131636"/>
                  </a:lnTo>
                  <a:lnTo>
                    <a:pt x="20542" y="133350"/>
                  </a:lnTo>
                  <a:lnTo>
                    <a:pt x="21844" y="134207"/>
                  </a:lnTo>
                  <a:lnTo>
                    <a:pt x="55658" y="153448"/>
                  </a:lnTo>
                  <a:lnTo>
                    <a:pt x="57213" y="154337"/>
                  </a:lnTo>
                  <a:lnTo>
                    <a:pt x="58452" y="153035"/>
                  </a:lnTo>
                  <a:lnTo>
                    <a:pt x="71152" y="139891"/>
                  </a:lnTo>
                  <a:cubicBezTo>
                    <a:pt x="73088" y="140081"/>
                    <a:pt x="74867" y="140176"/>
                    <a:pt x="76549" y="140208"/>
                  </a:cubicBezTo>
                  <a:lnTo>
                    <a:pt x="77248" y="140208"/>
                  </a:lnTo>
                  <a:cubicBezTo>
                    <a:pt x="79285" y="140184"/>
                    <a:pt x="81319" y="140057"/>
                    <a:pt x="83344" y="139827"/>
                  </a:cubicBezTo>
                  <a:lnTo>
                    <a:pt x="96044" y="152813"/>
                  </a:lnTo>
                  <a:lnTo>
                    <a:pt x="97282" y="154083"/>
                  </a:lnTo>
                  <a:lnTo>
                    <a:pt x="98838" y="153194"/>
                  </a:lnTo>
                  <a:lnTo>
                    <a:pt x="132588" y="133445"/>
                  </a:lnTo>
                  <a:lnTo>
                    <a:pt x="134144" y="132525"/>
                  </a:lnTo>
                  <a:lnTo>
                    <a:pt x="133636" y="130778"/>
                  </a:lnTo>
                  <a:lnTo>
                    <a:pt x="128334" y="113443"/>
                  </a:lnTo>
                  <a:cubicBezTo>
                    <a:pt x="130687" y="110119"/>
                    <a:pt x="132718" y="106579"/>
                    <a:pt x="134398" y="102870"/>
                  </a:cubicBezTo>
                  <a:lnTo>
                    <a:pt x="152019" y="98362"/>
                  </a:lnTo>
                  <a:lnTo>
                    <a:pt x="153734" y="97917"/>
                  </a:lnTo>
                  <a:close/>
                  <a:moveTo>
                    <a:pt x="110109" y="44672"/>
                  </a:moveTo>
                  <a:lnTo>
                    <a:pt x="113284" y="48927"/>
                  </a:lnTo>
                  <a:cubicBezTo>
                    <a:pt x="115718" y="52043"/>
                    <a:pt x="117746" y="55457"/>
                    <a:pt x="119316" y="59087"/>
                  </a:cubicBezTo>
                  <a:lnTo>
                    <a:pt x="121412" y="64008"/>
                  </a:lnTo>
                  <a:lnTo>
                    <a:pt x="121857" y="65088"/>
                  </a:lnTo>
                  <a:lnTo>
                    <a:pt x="122968" y="65342"/>
                  </a:lnTo>
                  <a:lnTo>
                    <a:pt x="136620" y="68517"/>
                  </a:lnTo>
                  <a:lnTo>
                    <a:pt x="136620" y="84709"/>
                  </a:lnTo>
                  <a:lnTo>
                    <a:pt x="123000" y="88202"/>
                  </a:lnTo>
                  <a:lnTo>
                    <a:pt x="121888" y="88487"/>
                  </a:lnTo>
                  <a:lnTo>
                    <a:pt x="121444" y="89535"/>
                  </a:lnTo>
                  <a:lnTo>
                    <a:pt x="119412" y="94488"/>
                  </a:lnTo>
                  <a:cubicBezTo>
                    <a:pt x="117917" y="98141"/>
                    <a:pt x="115941" y="101580"/>
                    <a:pt x="113538" y="104712"/>
                  </a:cubicBezTo>
                  <a:lnTo>
                    <a:pt x="110363" y="108998"/>
                  </a:lnTo>
                  <a:lnTo>
                    <a:pt x="109696" y="109919"/>
                  </a:lnTo>
                  <a:lnTo>
                    <a:pt x="110014" y="111030"/>
                  </a:lnTo>
                  <a:lnTo>
                    <a:pt x="114078" y="124682"/>
                  </a:lnTo>
                  <a:lnTo>
                    <a:pt x="100108" y="132842"/>
                  </a:lnTo>
                  <a:lnTo>
                    <a:pt x="90265" y="122777"/>
                  </a:lnTo>
                  <a:lnTo>
                    <a:pt x="89471" y="121952"/>
                  </a:lnTo>
                  <a:lnTo>
                    <a:pt x="88328" y="121952"/>
                  </a:lnTo>
                  <a:lnTo>
                    <a:pt x="83026" y="122650"/>
                  </a:lnTo>
                  <a:cubicBezTo>
                    <a:pt x="81071" y="122946"/>
                    <a:pt x="79098" y="123105"/>
                    <a:pt x="77121" y="123127"/>
                  </a:cubicBezTo>
                  <a:lnTo>
                    <a:pt x="76676" y="123127"/>
                  </a:lnTo>
                  <a:cubicBezTo>
                    <a:pt x="74849" y="123114"/>
                    <a:pt x="73024" y="122976"/>
                    <a:pt x="71215" y="122714"/>
                  </a:cubicBezTo>
                  <a:lnTo>
                    <a:pt x="65913" y="122079"/>
                  </a:lnTo>
                  <a:lnTo>
                    <a:pt x="64770" y="122079"/>
                  </a:lnTo>
                  <a:lnTo>
                    <a:pt x="63976" y="122904"/>
                  </a:lnTo>
                  <a:lnTo>
                    <a:pt x="54229" y="133191"/>
                  </a:lnTo>
                  <a:lnTo>
                    <a:pt x="40164" y="125190"/>
                  </a:lnTo>
                  <a:lnTo>
                    <a:pt x="44069" y="111570"/>
                  </a:lnTo>
                  <a:lnTo>
                    <a:pt x="44386" y="110490"/>
                  </a:lnTo>
                  <a:lnTo>
                    <a:pt x="43656" y="109569"/>
                  </a:lnTo>
                  <a:lnTo>
                    <a:pt x="40481" y="105315"/>
                  </a:lnTo>
                  <a:cubicBezTo>
                    <a:pt x="38050" y="102202"/>
                    <a:pt x="36033" y="98787"/>
                    <a:pt x="34480" y="95155"/>
                  </a:cubicBezTo>
                  <a:lnTo>
                    <a:pt x="32385" y="90234"/>
                  </a:lnTo>
                  <a:lnTo>
                    <a:pt x="31940" y="89154"/>
                  </a:lnTo>
                  <a:lnTo>
                    <a:pt x="30797" y="88900"/>
                  </a:lnTo>
                  <a:lnTo>
                    <a:pt x="17177" y="85725"/>
                  </a:lnTo>
                  <a:lnTo>
                    <a:pt x="17177" y="69533"/>
                  </a:lnTo>
                  <a:lnTo>
                    <a:pt x="30797" y="66040"/>
                  </a:lnTo>
                  <a:lnTo>
                    <a:pt x="31909" y="65754"/>
                  </a:lnTo>
                  <a:lnTo>
                    <a:pt x="32321" y="64707"/>
                  </a:lnTo>
                  <a:lnTo>
                    <a:pt x="34353" y="59754"/>
                  </a:lnTo>
                  <a:cubicBezTo>
                    <a:pt x="35878" y="56108"/>
                    <a:pt x="37863" y="52672"/>
                    <a:pt x="40259" y="49530"/>
                  </a:cubicBezTo>
                  <a:lnTo>
                    <a:pt x="43434" y="45244"/>
                  </a:lnTo>
                  <a:lnTo>
                    <a:pt x="44133" y="44323"/>
                  </a:lnTo>
                  <a:lnTo>
                    <a:pt x="43815" y="43212"/>
                  </a:lnTo>
                  <a:lnTo>
                    <a:pt x="39592" y="29432"/>
                  </a:lnTo>
                  <a:lnTo>
                    <a:pt x="53594" y="21336"/>
                  </a:lnTo>
                  <a:lnTo>
                    <a:pt x="63468" y="31401"/>
                  </a:lnTo>
                  <a:lnTo>
                    <a:pt x="64262" y="32226"/>
                  </a:lnTo>
                  <a:lnTo>
                    <a:pt x="65405" y="32068"/>
                  </a:lnTo>
                  <a:lnTo>
                    <a:pt x="70707" y="31369"/>
                  </a:lnTo>
                  <a:cubicBezTo>
                    <a:pt x="72664" y="31091"/>
                    <a:pt x="74636" y="30931"/>
                    <a:pt x="76613" y="30893"/>
                  </a:cubicBezTo>
                  <a:lnTo>
                    <a:pt x="77057" y="30893"/>
                  </a:lnTo>
                  <a:cubicBezTo>
                    <a:pt x="78884" y="30938"/>
                    <a:pt x="80706" y="31076"/>
                    <a:pt x="82518" y="31306"/>
                  </a:cubicBezTo>
                  <a:lnTo>
                    <a:pt x="87820" y="31941"/>
                  </a:lnTo>
                  <a:lnTo>
                    <a:pt x="88963" y="31941"/>
                  </a:lnTo>
                  <a:lnTo>
                    <a:pt x="89757" y="31115"/>
                  </a:lnTo>
                  <a:lnTo>
                    <a:pt x="99504" y="20923"/>
                  </a:lnTo>
                  <a:lnTo>
                    <a:pt x="113570" y="28956"/>
                  </a:lnTo>
                  <a:lnTo>
                    <a:pt x="109760" y="42545"/>
                  </a:lnTo>
                  <a:lnTo>
                    <a:pt x="109442" y="436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 dirty="0">
                <a:solidFill>
                  <a:srgbClr val="D04A02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127" name="Google Shape;8283;p243">
              <a:extLst>
                <a:ext uri="{FF2B5EF4-FFF2-40B4-BE49-F238E27FC236}">
                  <a16:creationId xmlns:a16="http://schemas.microsoft.com/office/drawing/2014/main" id="{44489FDC-AEB2-4595-95FE-96EA517C61F3}"/>
                </a:ext>
              </a:extLst>
            </p:cNvPr>
            <p:cNvSpPr/>
            <p:nvPr/>
          </p:nvSpPr>
          <p:spPr>
            <a:xfrm>
              <a:off x="3669237" y="2706706"/>
              <a:ext cx="51307" cy="51307"/>
            </a:xfrm>
            <a:custGeom>
              <a:avLst/>
              <a:gdLst/>
              <a:ahLst/>
              <a:cxnLst/>
              <a:rect l="l" t="t" r="r" b="b"/>
              <a:pathLst>
                <a:path w="51307" h="51307" extrusionOk="0">
                  <a:moveTo>
                    <a:pt x="25654" y="51308"/>
                  </a:moveTo>
                  <a:cubicBezTo>
                    <a:pt x="11485" y="51308"/>
                    <a:pt x="0" y="39822"/>
                    <a:pt x="0" y="25654"/>
                  </a:cubicBezTo>
                  <a:cubicBezTo>
                    <a:pt x="0" y="11486"/>
                    <a:pt x="11486" y="0"/>
                    <a:pt x="25654" y="0"/>
                  </a:cubicBezTo>
                  <a:cubicBezTo>
                    <a:pt x="39785" y="0"/>
                    <a:pt x="51255" y="11428"/>
                    <a:pt x="51308" y="25559"/>
                  </a:cubicBezTo>
                  <a:cubicBezTo>
                    <a:pt x="51325" y="39750"/>
                    <a:pt x="39845" y="51273"/>
                    <a:pt x="25654" y="51308"/>
                  </a:cubicBezTo>
                  <a:close/>
                  <a:moveTo>
                    <a:pt x="25654" y="17367"/>
                  </a:moveTo>
                  <a:cubicBezTo>
                    <a:pt x="21077" y="17350"/>
                    <a:pt x="17353" y="21046"/>
                    <a:pt x="17336" y="25623"/>
                  </a:cubicBezTo>
                  <a:cubicBezTo>
                    <a:pt x="17319" y="30199"/>
                    <a:pt x="21015" y="33923"/>
                    <a:pt x="25591" y="33941"/>
                  </a:cubicBezTo>
                  <a:cubicBezTo>
                    <a:pt x="30168" y="33958"/>
                    <a:pt x="33892" y="30262"/>
                    <a:pt x="33909" y="25685"/>
                  </a:cubicBezTo>
                  <a:cubicBezTo>
                    <a:pt x="33909" y="25643"/>
                    <a:pt x="33909" y="25601"/>
                    <a:pt x="33909" y="25559"/>
                  </a:cubicBezTo>
                  <a:cubicBezTo>
                    <a:pt x="33857" y="21032"/>
                    <a:pt x="30181" y="17384"/>
                    <a:pt x="25654" y="1736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 dirty="0">
                <a:solidFill>
                  <a:srgbClr val="D04A02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128" name="Google Shape;8284;p243">
              <a:extLst>
                <a:ext uri="{FF2B5EF4-FFF2-40B4-BE49-F238E27FC236}">
                  <a16:creationId xmlns:a16="http://schemas.microsoft.com/office/drawing/2014/main" id="{E37FBD77-5A16-473D-B6A5-CA75B7E9531E}"/>
                </a:ext>
              </a:extLst>
            </p:cNvPr>
            <p:cNvSpPr/>
            <p:nvPr/>
          </p:nvSpPr>
          <p:spPr>
            <a:xfrm>
              <a:off x="3762994" y="2602090"/>
              <a:ext cx="114585" cy="113442"/>
            </a:xfrm>
            <a:custGeom>
              <a:avLst/>
              <a:gdLst/>
              <a:ahLst/>
              <a:cxnLst/>
              <a:rect l="l" t="t" r="r" b="b"/>
              <a:pathLst>
                <a:path w="114585" h="113442" extrusionOk="0">
                  <a:moveTo>
                    <a:pt x="113824" y="69659"/>
                  </a:moveTo>
                  <a:lnTo>
                    <a:pt x="112871" y="68771"/>
                  </a:lnTo>
                  <a:lnTo>
                    <a:pt x="103823" y="60325"/>
                  </a:lnTo>
                  <a:cubicBezTo>
                    <a:pt x="104029" y="57757"/>
                    <a:pt x="104029" y="55177"/>
                    <a:pt x="103823" y="52610"/>
                  </a:cubicBezTo>
                  <a:lnTo>
                    <a:pt x="112713" y="43974"/>
                  </a:lnTo>
                  <a:lnTo>
                    <a:pt x="113633" y="43085"/>
                  </a:lnTo>
                  <a:lnTo>
                    <a:pt x="114395" y="42323"/>
                  </a:lnTo>
                  <a:lnTo>
                    <a:pt x="113856" y="41402"/>
                  </a:lnTo>
                  <a:lnTo>
                    <a:pt x="113221" y="40291"/>
                  </a:lnTo>
                  <a:lnTo>
                    <a:pt x="99124" y="15875"/>
                  </a:lnTo>
                  <a:lnTo>
                    <a:pt x="98457" y="14764"/>
                  </a:lnTo>
                  <a:lnTo>
                    <a:pt x="97917" y="13811"/>
                  </a:lnTo>
                  <a:lnTo>
                    <a:pt x="96869" y="14129"/>
                  </a:lnTo>
                  <a:lnTo>
                    <a:pt x="95631" y="14510"/>
                  </a:lnTo>
                  <a:lnTo>
                    <a:pt x="83788" y="18002"/>
                  </a:lnTo>
                  <a:cubicBezTo>
                    <a:pt x="81651" y="16553"/>
                    <a:pt x="79400" y="15279"/>
                    <a:pt x="77057" y="14192"/>
                  </a:cubicBezTo>
                  <a:lnTo>
                    <a:pt x="73882" y="2127"/>
                  </a:lnTo>
                  <a:lnTo>
                    <a:pt x="73565" y="889"/>
                  </a:lnTo>
                  <a:lnTo>
                    <a:pt x="73406" y="0"/>
                  </a:lnTo>
                  <a:lnTo>
                    <a:pt x="71057" y="0"/>
                  </a:lnTo>
                  <a:lnTo>
                    <a:pt x="43117" y="0"/>
                  </a:lnTo>
                  <a:lnTo>
                    <a:pt x="40767" y="0"/>
                  </a:lnTo>
                  <a:lnTo>
                    <a:pt x="40513" y="1016"/>
                  </a:lnTo>
                  <a:lnTo>
                    <a:pt x="40196" y="2254"/>
                  </a:lnTo>
                  <a:lnTo>
                    <a:pt x="37021" y="14351"/>
                  </a:lnTo>
                  <a:cubicBezTo>
                    <a:pt x="35973" y="14827"/>
                    <a:pt x="34989" y="15335"/>
                    <a:pt x="34036" y="15875"/>
                  </a:cubicBezTo>
                  <a:lnTo>
                    <a:pt x="33592" y="16129"/>
                  </a:lnTo>
                  <a:cubicBezTo>
                    <a:pt x="32496" y="16781"/>
                    <a:pt x="31436" y="17491"/>
                    <a:pt x="30417" y="18256"/>
                  </a:cubicBezTo>
                  <a:lnTo>
                    <a:pt x="18479" y="14986"/>
                  </a:lnTo>
                  <a:lnTo>
                    <a:pt x="17240" y="14637"/>
                  </a:lnTo>
                  <a:lnTo>
                    <a:pt x="16192" y="14351"/>
                  </a:lnTo>
                  <a:lnTo>
                    <a:pt x="15685" y="15272"/>
                  </a:lnTo>
                  <a:lnTo>
                    <a:pt x="15049" y="16383"/>
                  </a:lnTo>
                  <a:lnTo>
                    <a:pt x="1143" y="40640"/>
                  </a:lnTo>
                  <a:lnTo>
                    <a:pt x="508" y="41751"/>
                  </a:lnTo>
                  <a:lnTo>
                    <a:pt x="0" y="42672"/>
                  </a:lnTo>
                  <a:lnTo>
                    <a:pt x="762" y="43402"/>
                  </a:lnTo>
                  <a:lnTo>
                    <a:pt x="1683" y="44291"/>
                  </a:lnTo>
                  <a:lnTo>
                    <a:pt x="10668" y="52927"/>
                  </a:lnTo>
                  <a:cubicBezTo>
                    <a:pt x="10446" y="55494"/>
                    <a:pt x="10446" y="58076"/>
                    <a:pt x="10668" y="60642"/>
                  </a:cubicBezTo>
                  <a:lnTo>
                    <a:pt x="1715" y="69183"/>
                  </a:lnTo>
                  <a:lnTo>
                    <a:pt x="794" y="70072"/>
                  </a:lnTo>
                  <a:lnTo>
                    <a:pt x="0" y="70803"/>
                  </a:lnTo>
                  <a:lnTo>
                    <a:pt x="540" y="71755"/>
                  </a:lnTo>
                  <a:lnTo>
                    <a:pt x="1207" y="72866"/>
                  </a:lnTo>
                  <a:lnTo>
                    <a:pt x="15335" y="97187"/>
                  </a:lnTo>
                  <a:lnTo>
                    <a:pt x="16002" y="98298"/>
                  </a:lnTo>
                  <a:lnTo>
                    <a:pt x="16542" y="99219"/>
                  </a:lnTo>
                  <a:lnTo>
                    <a:pt x="17558" y="98933"/>
                  </a:lnTo>
                  <a:lnTo>
                    <a:pt x="18796" y="98584"/>
                  </a:lnTo>
                  <a:lnTo>
                    <a:pt x="30702" y="95250"/>
                  </a:lnTo>
                  <a:cubicBezTo>
                    <a:pt x="32841" y="96698"/>
                    <a:pt x="35091" y="97972"/>
                    <a:pt x="37433" y="99060"/>
                  </a:cubicBezTo>
                  <a:lnTo>
                    <a:pt x="40608" y="111157"/>
                  </a:lnTo>
                  <a:lnTo>
                    <a:pt x="40926" y="112395"/>
                  </a:lnTo>
                  <a:lnTo>
                    <a:pt x="41180" y="113443"/>
                  </a:lnTo>
                  <a:lnTo>
                    <a:pt x="43529" y="113443"/>
                  </a:lnTo>
                  <a:lnTo>
                    <a:pt x="71565" y="113443"/>
                  </a:lnTo>
                  <a:lnTo>
                    <a:pt x="73724" y="113443"/>
                  </a:lnTo>
                  <a:lnTo>
                    <a:pt x="73978" y="112395"/>
                  </a:lnTo>
                  <a:lnTo>
                    <a:pt x="74295" y="111157"/>
                  </a:lnTo>
                  <a:lnTo>
                    <a:pt x="77248" y="99092"/>
                  </a:lnTo>
                  <a:cubicBezTo>
                    <a:pt x="78327" y="98584"/>
                    <a:pt x="79312" y="98076"/>
                    <a:pt x="80232" y="97568"/>
                  </a:cubicBezTo>
                  <a:lnTo>
                    <a:pt x="80677" y="97314"/>
                  </a:lnTo>
                  <a:cubicBezTo>
                    <a:pt x="81756" y="96679"/>
                    <a:pt x="82804" y="95980"/>
                    <a:pt x="83852" y="95187"/>
                  </a:cubicBezTo>
                  <a:lnTo>
                    <a:pt x="95949" y="98425"/>
                  </a:lnTo>
                  <a:lnTo>
                    <a:pt x="97187" y="98774"/>
                  </a:lnTo>
                  <a:lnTo>
                    <a:pt x="98235" y="99060"/>
                  </a:lnTo>
                  <a:lnTo>
                    <a:pt x="98742" y="98139"/>
                  </a:lnTo>
                  <a:lnTo>
                    <a:pt x="99409" y="97028"/>
                  </a:lnTo>
                  <a:lnTo>
                    <a:pt x="113411" y="72581"/>
                  </a:lnTo>
                  <a:lnTo>
                    <a:pt x="114046" y="71469"/>
                  </a:lnTo>
                  <a:lnTo>
                    <a:pt x="114586" y="70517"/>
                  </a:lnTo>
                  <a:close/>
                  <a:moveTo>
                    <a:pt x="80931" y="78645"/>
                  </a:moveTo>
                  <a:lnTo>
                    <a:pt x="80391" y="79058"/>
                  </a:lnTo>
                  <a:lnTo>
                    <a:pt x="79724" y="79566"/>
                  </a:lnTo>
                  <a:lnTo>
                    <a:pt x="76549" y="81883"/>
                  </a:lnTo>
                  <a:cubicBezTo>
                    <a:pt x="75476" y="82725"/>
                    <a:pt x="74352" y="83499"/>
                    <a:pt x="73184" y="84201"/>
                  </a:cubicBezTo>
                  <a:lnTo>
                    <a:pt x="72898" y="84201"/>
                  </a:lnTo>
                  <a:cubicBezTo>
                    <a:pt x="71799" y="84808"/>
                    <a:pt x="70664" y="85349"/>
                    <a:pt x="69501" y="85820"/>
                  </a:cubicBezTo>
                  <a:lnTo>
                    <a:pt x="65945" y="87344"/>
                  </a:lnTo>
                  <a:lnTo>
                    <a:pt x="65183" y="87662"/>
                  </a:lnTo>
                  <a:lnTo>
                    <a:pt x="64548" y="87916"/>
                  </a:lnTo>
                  <a:lnTo>
                    <a:pt x="64516" y="88900"/>
                  </a:lnTo>
                  <a:lnTo>
                    <a:pt x="64326" y="89725"/>
                  </a:lnTo>
                  <a:lnTo>
                    <a:pt x="62135" y="98425"/>
                  </a:lnTo>
                  <a:lnTo>
                    <a:pt x="52610" y="98425"/>
                  </a:lnTo>
                  <a:lnTo>
                    <a:pt x="50356" y="89630"/>
                  </a:lnTo>
                  <a:lnTo>
                    <a:pt x="50197" y="88900"/>
                  </a:lnTo>
                  <a:lnTo>
                    <a:pt x="50197" y="88233"/>
                  </a:lnTo>
                  <a:lnTo>
                    <a:pt x="49562" y="87979"/>
                  </a:lnTo>
                  <a:lnTo>
                    <a:pt x="48800" y="87662"/>
                  </a:lnTo>
                  <a:lnTo>
                    <a:pt x="45149" y="86074"/>
                  </a:lnTo>
                  <a:cubicBezTo>
                    <a:pt x="42627" y="85037"/>
                    <a:pt x="40247" y="83682"/>
                    <a:pt x="38068" y="82042"/>
                  </a:cubicBezTo>
                  <a:lnTo>
                    <a:pt x="34893" y="79724"/>
                  </a:lnTo>
                  <a:lnTo>
                    <a:pt x="34258" y="79216"/>
                  </a:lnTo>
                  <a:lnTo>
                    <a:pt x="33687" y="78804"/>
                  </a:lnTo>
                  <a:lnTo>
                    <a:pt x="33052" y="78994"/>
                  </a:lnTo>
                  <a:lnTo>
                    <a:pt x="32258" y="79216"/>
                  </a:lnTo>
                  <a:lnTo>
                    <a:pt x="23590" y="81725"/>
                  </a:lnTo>
                  <a:lnTo>
                    <a:pt x="18796" y="73501"/>
                  </a:lnTo>
                  <a:lnTo>
                    <a:pt x="25146" y="67151"/>
                  </a:lnTo>
                  <a:lnTo>
                    <a:pt x="25717" y="66580"/>
                  </a:lnTo>
                  <a:lnTo>
                    <a:pt x="26226" y="66072"/>
                  </a:lnTo>
                  <a:lnTo>
                    <a:pt x="26226" y="65405"/>
                  </a:lnTo>
                  <a:lnTo>
                    <a:pt x="26226" y="64580"/>
                  </a:lnTo>
                  <a:lnTo>
                    <a:pt x="25717" y="60770"/>
                  </a:lnTo>
                  <a:cubicBezTo>
                    <a:pt x="25367" y="58061"/>
                    <a:pt x="25367" y="55318"/>
                    <a:pt x="25717" y="52610"/>
                  </a:cubicBezTo>
                  <a:lnTo>
                    <a:pt x="26194" y="48800"/>
                  </a:lnTo>
                  <a:lnTo>
                    <a:pt x="26194" y="47974"/>
                  </a:lnTo>
                  <a:lnTo>
                    <a:pt x="26194" y="47276"/>
                  </a:lnTo>
                  <a:lnTo>
                    <a:pt x="25717" y="46800"/>
                  </a:lnTo>
                  <a:lnTo>
                    <a:pt x="25114" y="46228"/>
                  </a:lnTo>
                  <a:lnTo>
                    <a:pt x="18542" y="39878"/>
                  </a:lnTo>
                  <a:lnTo>
                    <a:pt x="23368" y="31750"/>
                  </a:lnTo>
                  <a:lnTo>
                    <a:pt x="32099" y="34227"/>
                  </a:lnTo>
                  <a:lnTo>
                    <a:pt x="32925" y="34449"/>
                  </a:lnTo>
                  <a:lnTo>
                    <a:pt x="33560" y="34639"/>
                  </a:lnTo>
                  <a:lnTo>
                    <a:pt x="34131" y="34227"/>
                  </a:lnTo>
                  <a:lnTo>
                    <a:pt x="34766" y="33719"/>
                  </a:lnTo>
                  <a:lnTo>
                    <a:pt x="37941" y="31369"/>
                  </a:lnTo>
                  <a:cubicBezTo>
                    <a:pt x="39021" y="30531"/>
                    <a:pt x="40156" y="29768"/>
                    <a:pt x="41339" y="29083"/>
                  </a:cubicBezTo>
                  <a:lnTo>
                    <a:pt x="41592" y="29083"/>
                  </a:lnTo>
                  <a:cubicBezTo>
                    <a:pt x="42698" y="28459"/>
                    <a:pt x="43844" y="27907"/>
                    <a:pt x="45022" y="27432"/>
                  </a:cubicBezTo>
                  <a:lnTo>
                    <a:pt x="48324" y="25749"/>
                  </a:lnTo>
                  <a:lnTo>
                    <a:pt x="49085" y="25432"/>
                  </a:lnTo>
                  <a:lnTo>
                    <a:pt x="49721" y="25146"/>
                  </a:lnTo>
                  <a:lnTo>
                    <a:pt x="49721" y="24479"/>
                  </a:lnTo>
                  <a:lnTo>
                    <a:pt x="49911" y="23685"/>
                  </a:lnTo>
                  <a:lnTo>
                    <a:pt x="52102" y="14859"/>
                  </a:lnTo>
                  <a:lnTo>
                    <a:pt x="61627" y="14859"/>
                  </a:lnTo>
                  <a:lnTo>
                    <a:pt x="63849" y="23685"/>
                  </a:lnTo>
                  <a:lnTo>
                    <a:pt x="64040" y="24479"/>
                  </a:lnTo>
                  <a:lnTo>
                    <a:pt x="64230" y="25146"/>
                  </a:lnTo>
                  <a:lnTo>
                    <a:pt x="64865" y="25432"/>
                  </a:lnTo>
                  <a:lnTo>
                    <a:pt x="65627" y="25718"/>
                  </a:lnTo>
                  <a:lnTo>
                    <a:pt x="69183" y="27210"/>
                  </a:lnTo>
                  <a:cubicBezTo>
                    <a:pt x="71721" y="28235"/>
                    <a:pt x="74114" y="29591"/>
                    <a:pt x="76295" y="31242"/>
                  </a:cubicBezTo>
                  <a:lnTo>
                    <a:pt x="79470" y="33560"/>
                  </a:lnTo>
                  <a:lnTo>
                    <a:pt x="80137" y="34068"/>
                  </a:lnTo>
                  <a:lnTo>
                    <a:pt x="80677" y="34481"/>
                  </a:lnTo>
                  <a:lnTo>
                    <a:pt x="81344" y="34290"/>
                  </a:lnTo>
                  <a:lnTo>
                    <a:pt x="82137" y="34036"/>
                  </a:lnTo>
                  <a:lnTo>
                    <a:pt x="90837" y="31528"/>
                  </a:lnTo>
                  <a:lnTo>
                    <a:pt x="95631" y="39751"/>
                  </a:lnTo>
                  <a:lnTo>
                    <a:pt x="89281" y="46101"/>
                  </a:lnTo>
                  <a:lnTo>
                    <a:pt x="88678" y="46673"/>
                  </a:lnTo>
                  <a:lnTo>
                    <a:pt x="88170" y="47149"/>
                  </a:lnTo>
                  <a:lnTo>
                    <a:pt x="88170" y="47847"/>
                  </a:lnTo>
                  <a:lnTo>
                    <a:pt x="88170" y="48673"/>
                  </a:lnTo>
                  <a:lnTo>
                    <a:pt x="88678" y="52483"/>
                  </a:lnTo>
                  <a:cubicBezTo>
                    <a:pt x="89011" y="55193"/>
                    <a:pt x="89011" y="57933"/>
                    <a:pt x="88678" y="60642"/>
                  </a:cubicBezTo>
                  <a:lnTo>
                    <a:pt x="88202" y="64452"/>
                  </a:lnTo>
                  <a:lnTo>
                    <a:pt x="88202" y="65278"/>
                  </a:lnTo>
                  <a:lnTo>
                    <a:pt x="88202" y="65977"/>
                  </a:lnTo>
                  <a:lnTo>
                    <a:pt x="88710" y="66453"/>
                  </a:lnTo>
                  <a:lnTo>
                    <a:pt x="89313" y="67024"/>
                  </a:lnTo>
                  <a:lnTo>
                    <a:pt x="95853" y="73374"/>
                  </a:lnTo>
                  <a:lnTo>
                    <a:pt x="91123" y="81629"/>
                  </a:lnTo>
                  <a:lnTo>
                    <a:pt x="82391" y="79184"/>
                  </a:lnTo>
                  <a:lnTo>
                    <a:pt x="81598" y="78962"/>
                  </a:lnTo>
                  <a:close/>
                  <a:moveTo>
                    <a:pt x="1746" y="71057"/>
                  </a:moveTo>
                  <a:lnTo>
                    <a:pt x="2064" y="71628"/>
                  </a:lnTo>
                  <a:lnTo>
                    <a:pt x="1746" y="710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 dirty="0">
                <a:solidFill>
                  <a:srgbClr val="D04A02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129" name="Google Shape;8285;p243">
              <a:extLst>
                <a:ext uri="{FF2B5EF4-FFF2-40B4-BE49-F238E27FC236}">
                  <a16:creationId xmlns:a16="http://schemas.microsoft.com/office/drawing/2014/main" id="{4F019B02-A0F4-41B9-9883-362B9C0F527F}"/>
                </a:ext>
              </a:extLst>
            </p:cNvPr>
            <p:cNvSpPr/>
            <p:nvPr/>
          </p:nvSpPr>
          <p:spPr>
            <a:xfrm>
              <a:off x="3804191" y="2642632"/>
              <a:ext cx="32130" cy="32133"/>
            </a:xfrm>
            <a:custGeom>
              <a:avLst/>
              <a:gdLst/>
              <a:ahLst/>
              <a:cxnLst/>
              <a:rect l="l" t="t" r="r" b="b"/>
              <a:pathLst>
                <a:path w="32130" h="32133" extrusionOk="0">
                  <a:moveTo>
                    <a:pt x="30018" y="8099"/>
                  </a:moveTo>
                  <a:cubicBezTo>
                    <a:pt x="25617" y="395"/>
                    <a:pt x="15803" y="-2283"/>
                    <a:pt x="8099" y="2119"/>
                  </a:cubicBezTo>
                  <a:cubicBezTo>
                    <a:pt x="395" y="6520"/>
                    <a:pt x="-2283" y="16333"/>
                    <a:pt x="2119" y="24037"/>
                  </a:cubicBezTo>
                  <a:cubicBezTo>
                    <a:pt x="4986" y="29057"/>
                    <a:pt x="10330" y="32149"/>
                    <a:pt x="16111" y="32134"/>
                  </a:cubicBezTo>
                  <a:cubicBezTo>
                    <a:pt x="18907" y="32122"/>
                    <a:pt x="21651" y="31389"/>
                    <a:pt x="24081" y="30006"/>
                  </a:cubicBezTo>
                  <a:cubicBezTo>
                    <a:pt x="31747" y="25579"/>
                    <a:pt x="34399" y="15792"/>
                    <a:pt x="30018" y="8099"/>
                  </a:cubicBezTo>
                  <a:close/>
                  <a:moveTo>
                    <a:pt x="19350" y="16957"/>
                  </a:moveTo>
                  <a:cubicBezTo>
                    <a:pt x="19132" y="17829"/>
                    <a:pt x="18555" y="18567"/>
                    <a:pt x="17762" y="18989"/>
                  </a:cubicBezTo>
                  <a:cubicBezTo>
                    <a:pt x="16113" y="19845"/>
                    <a:pt x="14081" y="19202"/>
                    <a:pt x="13225" y="17552"/>
                  </a:cubicBezTo>
                  <a:cubicBezTo>
                    <a:pt x="12369" y="15903"/>
                    <a:pt x="13012" y="13871"/>
                    <a:pt x="14662" y="13015"/>
                  </a:cubicBezTo>
                  <a:cubicBezTo>
                    <a:pt x="15101" y="12787"/>
                    <a:pt x="15585" y="12659"/>
                    <a:pt x="16080" y="12639"/>
                  </a:cubicBezTo>
                  <a:cubicBezTo>
                    <a:pt x="17921" y="12655"/>
                    <a:pt x="19400" y="14161"/>
                    <a:pt x="19384" y="16002"/>
                  </a:cubicBezTo>
                  <a:cubicBezTo>
                    <a:pt x="19382" y="16304"/>
                    <a:pt x="19338" y="16603"/>
                    <a:pt x="19255" y="16894"/>
                  </a:cubicBezTo>
                  <a:close/>
                  <a:moveTo>
                    <a:pt x="17318" y="11496"/>
                  </a:moveTo>
                  <a:lnTo>
                    <a:pt x="17318" y="11496"/>
                  </a:lnTo>
                  <a:close/>
                  <a:moveTo>
                    <a:pt x="12587" y="30292"/>
                  </a:moveTo>
                  <a:lnTo>
                    <a:pt x="12587" y="30292"/>
                  </a:lnTo>
                  <a:close/>
                  <a:moveTo>
                    <a:pt x="14873" y="20767"/>
                  </a:moveTo>
                  <a:lnTo>
                    <a:pt x="14873" y="207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700" b="1" dirty="0">
                <a:solidFill>
                  <a:srgbClr val="D04A02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sp>
        <p:nvSpPr>
          <p:cNvPr id="132" name="Google Shape;8286;p243">
            <a:extLst>
              <a:ext uri="{FF2B5EF4-FFF2-40B4-BE49-F238E27FC236}">
                <a16:creationId xmlns:a16="http://schemas.microsoft.com/office/drawing/2014/main" id="{A3222C9B-5502-4BE9-8522-513479881D1D}"/>
              </a:ext>
            </a:extLst>
          </p:cNvPr>
          <p:cNvSpPr/>
          <p:nvPr/>
        </p:nvSpPr>
        <p:spPr>
          <a:xfrm>
            <a:off x="9187784" y="2773658"/>
            <a:ext cx="274320" cy="27432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98" y="99"/>
                </a:moveTo>
                <a:cubicBezTo>
                  <a:pt x="498" y="0"/>
                  <a:pt x="498" y="0"/>
                  <a:pt x="49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25"/>
                  <a:pt x="0" y="525"/>
                  <a:pt x="0" y="525"/>
                </a:cubicBezTo>
                <a:cubicBezTo>
                  <a:pt x="0" y="553"/>
                  <a:pt x="23" y="576"/>
                  <a:pt x="51" y="576"/>
                </a:cubicBezTo>
                <a:cubicBezTo>
                  <a:pt x="525" y="576"/>
                  <a:pt x="525" y="576"/>
                  <a:pt x="525" y="576"/>
                </a:cubicBezTo>
                <a:cubicBezTo>
                  <a:pt x="553" y="576"/>
                  <a:pt x="576" y="553"/>
                  <a:pt x="576" y="525"/>
                </a:cubicBezTo>
                <a:cubicBezTo>
                  <a:pt x="576" y="99"/>
                  <a:pt x="576" y="99"/>
                  <a:pt x="576" y="99"/>
                </a:cubicBezTo>
                <a:lnTo>
                  <a:pt x="498" y="99"/>
                </a:lnTo>
                <a:close/>
                <a:moveTo>
                  <a:pt x="51" y="551"/>
                </a:moveTo>
                <a:cubicBezTo>
                  <a:pt x="36" y="551"/>
                  <a:pt x="25" y="539"/>
                  <a:pt x="25" y="525"/>
                </a:cubicBezTo>
                <a:cubicBezTo>
                  <a:pt x="25" y="25"/>
                  <a:pt x="25" y="25"/>
                  <a:pt x="25" y="25"/>
                </a:cubicBezTo>
                <a:cubicBezTo>
                  <a:pt x="474" y="25"/>
                  <a:pt x="474" y="25"/>
                  <a:pt x="474" y="25"/>
                </a:cubicBezTo>
                <a:cubicBezTo>
                  <a:pt x="474" y="525"/>
                  <a:pt x="474" y="525"/>
                  <a:pt x="474" y="525"/>
                </a:cubicBezTo>
                <a:cubicBezTo>
                  <a:pt x="474" y="535"/>
                  <a:pt x="476" y="544"/>
                  <a:pt x="481" y="551"/>
                </a:cubicBezTo>
                <a:lnTo>
                  <a:pt x="51" y="551"/>
                </a:lnTo>
                <a:close/>
                <a:moveTo>
                  <a:pt x="551" y="525"/>
                </a:moveTo>
                <a:cubicBezTo>
                  <a:pt x="551" y="539"/>
                  <a:pt x="540" y="551"/>
                  <a:pt x="525" y="551"/>
                </a:cubicBezTo>
                <a:cubicBezTo>
                  <a:pt x="510" y="551"/>
                  <a:pt x="498" y="539"/>
                  <a:pt x="498" y="525"/>
                </a:cubicBezTo>
                <a:cubicBezTo>
                  <a:pt x="498" y="123"/>
                  <a:pt x="498" y="123"/>
                  <a:pt x="498" y="123"/>
                </a:cubicBezTo>
                <a:cubicBezTo>
                  <a:pt x="551" y="123"/>
                  <a:pt x="551" y="123"/>
                  <a:pt x="551" y="123"/>
                </a:cubicBezTo>
                <a:lnTo>
                  <a:pt x="551" y="525"/>
                </a:lnTo>
                <a:close/>
                <a:moveTo>
                  <a:pt x="429" y="146"/>
                </a:moveTo>
                <a:cubicBezTo>
                  <a:pt x="69" y="146"/>
                  <a:pt x="69" y="146"/>
                  <a:pt x="69" y="146"/>
                </a:cubicBezTo>
                <a:cubicBezTo>
                  <a:pt x="69" y="121"/>
                  <a:pt x="69" y="121"/>
                  <a:pt x="69" y="121"/>
                </a:cubicBezTo>
                <a:cubicBezTo>
                  <a:pt x="429" y="121"/>
                  <a:pt x="429" y="121"/>
                  <a:pt x="429" y="121"/>
                </a:cubicBezTo>
                <a:lnTo>
                  <a:pt x="429" y="146"/>
                </a:lnTo>
                <a:close/>
                <a:moveTo>
                  <a:pt x="69" y="201"/>
                </a:moveTo>
                <a:cubicBezTo>
                  <a:pt x="229" y="201"/>
                  <a:pt x="229" y="201"/>
                  <a:pt x="229" y="201"/>
                </a:cubicBezTo>
                <a:cubicBezTo>
                  <a:pt x="229" y="225"/>
                  <a:pt x="229" y="225"/>
                  <a:pt x="229" y="225"/>
                </a:cubicBezTo>
                <a:cubicBezTo>
                  <a:pt x="69" y="225"/>
                  <a:pt x="69" y="225"/>
                  <a:pt x="69" y="225"/>
                </a:cubicBezTo>
                <a:lnTo>
                  <a:pt x="69" y="201"/>
                </a:lnTo>
                <a:close/>
                <a:moveTo>
                  <a:pt x="69" y="281"/>
                </a:moveTo>
                <a:cubicBezTo>
                  <a:pt x="229" y="281"/>
                  <a:pt x="229" y="281"/>
                  <a:pt x="229" y="281"/>
                </a:cubicBezTo>
                <a:cubicBezTo>
                  <a:pt x="229" y="305"/>
                  <a:pt x="229" y="305"/>
                  <a:pt x="229" y="305"/>
                </a:cubicBezTo>
                <a:cubicBezTo>
                  <a:pt x="69" y="305"/>
                  <a:pt x="69" y="305"/>
                  <a:pt x="69" y="305"/>
                </a:cubicBezTo>
                <a:lnTo>
                  <a:pt x="69" y="281"/>
                </a:lnTo>
                <a:close/>
                <a:moveTo>
                  <a:pt x="69" y="361"/>
                </a:moveTo>
                <a:cubicBezTo>
                  <a:pt x="229" y="361"/>
                  <a:pt x="229" y="361"/>
                  <a:pt x="229" y="361"/>
                </a:cubicBezTo>
                <a:cubicBezTo>
                  <a:pt x="229" y="385"/>
                  <a:pt x="229" y="385"/>
                  <a:pt x="229" y="385"/>
                </a:cubicBezTo>
                <a:cubicBezTo>
                  <a:pt x="69" y="385"/>
                  <a:pt x="69" y="385"/>
                  <a:pt x="69" y="385"/>
                </a:cubicBezTo>
                <a:lnTo>
                  <a:pt x="69" y="361"/>
                </a:lnTo>
                <a:close/>
                <a:moveTo>
                  <a:pt x="69" y="441"/>
                </a:moveTo>
                <a:cubicBezTo>
                  <a:pt x="229" y="441"/>
                  <a:pt x="229" y="441"/>
                  <a:pt x="229" y="441"/>
                </a:cubicBezTo>
                <a:cubicBezTo>
                  <a:pt x="229" y="465"/>
                  <a:pt x="229" y="465"/>
                  <a:pt x="229" y="465"/>
                </a:cubicBezTo>
                <a:cubicBezTo>
                  <a:pt x="69" y="465"/>
                  <a:pt x="69" y="465"/>
                  <a:pt x="69" y="465"/>
                </a:cubicBezTo>
                <a:lnTo>
                  <a:pt x="69" y="441"/>
                </a:lnTo>
                <a:close/>
                <a:moveTo>
                  <a:pt x="257" y="465"/>
                </a:moveTo>
                <a:cubicBezTo>
                  <a:pt x="441" y="465"/>
                  <a:pt x="441" y="465"/>
                  <a:pt x="441" y="465"/>
                </a:cubicBezTo>
                <a:cubicBezTo>
                  <a:pt x="441" y="201"/>
                  <a:pt x="441" y="201"/>
                  <a:pt x="441" y="201"/>
                </a:cubicBezTo>
                <a:cubicBezTo>
                  <a:pt x="257" y="201"/>
                  <a:pt x="257" y="201"/>
                  <a:pt x="257" y="201"/>
                </a:cubicBezTo>
                <a:lnTo>
                  <a:pt x="257" y="465"/>
                </a:lnTo>
                <a:close/>
                <a:moveTo>
                  <a:pt x="281" y="225"/>
                </a:moveTo>
                <a:cubicBezTo>
                  <a:pt x="416" y="225"/>
                  <a:pt x="416" y="225"/>
                  <a:pt x="416" y="225"/>
                </a:cubicBezTo>
                <a:cubicBezTo>
                  <a:pt x="416" y="441"/>
                  <a:pt x="416" y="441"/>
                  <a:pt x="416" y="441"/>
                </a:cubicBezTo>
                <a:cubicBezTo>
                  <a:pt x="281" y="441"/>
                  <a:pt x="281" y="441"/>
                  <a:pt x="281" y="441"/>
                </a:cubicBezTo>
                <a:lnTo>
                  <a:pt x="281" y="22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33" name="Google Shape;8287;p243">
            <a:extLst>
              <a:ext uri="{FF2B5EF4-FFF2-40B4-BE49-F238E27FC236}">
                <a16:creationId xmlns:a16="http://schemas.microsoft.com/office/drawing/2014/main" id="{645A76FB-9A82-4160-9904-FCAF784645BE}"/>
              </a:ext>
            </a:extLst>
          </p:cNvPr>
          <p:cNvSpPr/>
          <p:nvPr/>
        </p:nvSpPr>
        <p:spPr>
          <a:xfrm>
            <a:off x="9933256" y="2950431"/>
            <a:ext cx="274320" cy="27432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54" y="346"/>
                  <a:pt x="54" y="346"/>
                  <a:pt x="54" y="346"/>
                </a:cubicBezTo>
                <a:cubicBezTo>
                  <a:pt x="64" y="268"/>
                  <a:pt x="64" y="268"/>
                  <a:pt x="64" y="268"/>
                </a:cubicBezTo>
                <a:cubicBezTo>
                  <a:pt x="68" y="255"/>
                  <a:pt x="78" y="245"/>
                  <a:pt x="91" y="241"/>
                </a:cubicBezTo>
                <a:cubicBezTo>
                  <a:pt x="143" y="223"/>
                  <a:pt x="143" y="223"/>
                  <a:pt x="143" y="223"/>
                </a:cubicBezTo>
                <a:cubicBezTo>
                  <a:pt x="143" y="223"/>
                  <a:pt x="144" y="223"/>
                  <a:pt x="145" y="224"/>
                </a:cubicBezTo>
                <a:cubicBezTo>
                  <a:pt x="149" y="228"/>
                  <a:pt x="149" y="228"/>
                  <a:pt x="149" y="228"/>
                </a:cubicBezTo>
                <a:cubicBezTo>
                  <a:pt x="155" y="234"/>
                  <a:pt x="164" y="238"/>
                  <a:pt x="173" y="238"/>
                </a:cubicBezTo>
                <a:cubicBezTo>
                  <a:pt x="182" y="238"/>
                  <a:pt x="191" y="234"/>
                  <a:pt x="197" y="228"/>
                </a:cubicBezTo>
                <a:cubicBezTo>
                  <a:pt x="201" y="224"/>
                  <a:pt x="201" y="224"/>
                  <a:pt x="201" y="224"/>
                </a:cubicBezTo>
                <a:cubicBezTo>
                  <a:pt x="202" y="223"/>
                  <a:pt x="202" y="223"/>
                  <a:pt x="203" y="223"/>
                </a:cubicBezTo>
                <a:cubicBezTo>
                  <a:pt x="255" y="241"/>
                  <a:pt x="255" y="241"/>
                  <a:pt x="255" y="241"/>
                </a:cubicBezTo>
                <a:cubicBezTo>
                  <a:pt x="267" y="245"/>
                  <a:pt x="278" y="255"/>
                  <a:pt x="282" y="268"/>
                </a:cubicBezTo>
                <a:cubicBezTo>
                  <a:pt x="292" y="346"/>
                  <a:pt x="292" y="346"/>
                  <a:pt x="292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1" y="331"/>
                </a:moveTo>
                <a:cubicBezTo>
                  <a:pt x="305" y="331"/>
                  <a:pt x="305" y="331"/>
                  <a:pt x="305" y="331"/>
                </a:cubicBezTo>
                <a:cubicBezTo>
                  <a:pt x="296" y="266"/>
                  <a:pt x="296" y="266"/>
                  <a:pt x="296" y="266"/>
                </a:cubicBezTo>
                <a:cubicBezTo>
                  <a:pt x="296" y="264"/>
                  <a:pt x="296" y="264"/>
                  <a:pt x="296" y="264"/>
                </a:cubicBezTo>
                <a:cubicBezTo>
                  <a:pt x="291" y="247"/>
                  <a:pt x="277" y="233"/>
                  <a:pt x="259" y="227"/>
                </a:cubicBezTo>
                <a:cubicBezTo>
                  <a:pt x="208" y="209"/>
                  <a:pt x="208" y="209"/>
                  <a:pt x="208" y="209"/>
                </a:cubicBezTo>
                <a:cubicBezTo>
                  <a:pt x="202" y="207"/>
                  <a:pt x="195" y="209"/>
                  <a:pt x="190" y="213"/>
                </a:cubicBezTo>
                <a:cubicBezTo>
                  <a:pt x="186" y="217"/>
                  <a:pt x="186" y="217"/>
                  <a:pt x="186" y="217"/>
                </a:cubicBezTo>
                <a:cubicBezTo>
                  <a:pt x="183" y="221"/>
                  <a:pt x="178" y="223"/>
                  <a:pt x="173" y="223"/>
                </a:cubicBezTo>
                <a:cubicBezTo>
                  <a:pt x="168" y="223"/>
                  <a:pt x="163" y="221"/>
                  <a:pt x="159" y="217"/>
                </a:cubicBezTo>
                <a:cubicBezTo>
                  <a:pt x="155" y="213"/>
                  <a:pt x="155" y="213"/>
                  <a:pt x="155" y="213"/>
                </a:cubicBezTo>
                <a:cubicBezTo>
                  <a:pt x="151" y="209"/>
                  <a:pt x="144" y="207"/>
                  <a:pt x="138" y="209"/>
                </a:cubicBezTo>
                <a:cubicBezTo>
                  <a:pt x="86" y="227"/>
                  <a:pt x="86" y="227"/>
                  <a:pt x="86" y="227"/>
                </a:cubicBezTo>
                <a:cubicBezTo>
                  <a:pt x="69" y="233"/>
                  <a:pt x="55" y="247"/>
                  <a:pt x="49" y="264"/>
                </a:cubicBezTo>
                <a:cubicBezTo>
                  <a:pt x="41" y="331"/>
                  <a:pt x="41" y="331"/>
                  <a:pt x="41" y="331"/>
                </a:cubicBezTo>
                <a:cubicBezTo>
                  <a:pt x="14" y="331"/>
                  <a:pt x="14" y="331"/>
                  <a:pt x="14" y="331"/>
                </a:cubicBezTo>
                <a:cubicBezTo>
                  <a:pt x="14" y="14"/>
                  <a:pt x="14" y="14"/>
                  <a:pt x="14" y="14"/>
                </a:cubicBezTo>
                <a:cubicBezTo>
                  <a:pt x="331" y="14"/>
                  <a:pt x="331" y="14"/>
                  <a:pt x="331" y="14"/>
                </a:cubicBezTo>
                <a:lnTo>
                  <a:pt x="331" y="331"/>
                </a:lnTo>
                <a:close/>
                <a:moveTo>
                  <a:pt x="173" y="201"/>
                </a:moveTo>
                <a:cubicBezTo>
                  <a:pt x="187" y="201"/>
                  <a:pt x="195" y="193"/>
                  <a:pt x="204" y="184"/>
                </a:cubicBezTo>
                <a:cubicBezTo>
                  <a:pt x="214" y="172"/>
                  <a:pt x="220" y="152"/>
                  <a:pt x="220" y="124"/>
                </a:cubicBezTo>
                <a:cubicBezTo>
                  <a:pt x="220" y="96"/>
                  <a:pt x="199" y="73"/>
                  <a:pt x="173" y="73"/>
                </a:cubicBezTo>
                <a:cubicBezTo>
                  <a:pt x="147" y="73"/>
                  <a:pt x="126" y="96"/>
                  <a:pt x="126" y="124"/>
                </a:cubicBezTo>
                <a:cubicBezTo>
                  <a:pt x="126" y="152"/>
                  <a:pt x="131" y="172"/>
                  <a:pt x="142" y="184"/>
                </a:cubicBezTo>
                <a:cubicBezTo>
                  <a:pt x="150" y="193"/>
                  <a:pt x="158" y="201"/>
                  <a:pt x="173" y="201"/>
                </a:cubicBezTo>
                <a:close/>
                <a:moveTo>
                  <a:pt x="173" y="88"/>
                </a:moveTo>
                <a:cubicBezTo>
                  <a:pt x="190" y="88"/>
                  <a:pt x="205" y="104"/>
                  <a:pt x="205" y="124"/>
                </a:cubicBezTo>
                <a:cubicBezTo>
                  <a:pt x="205" y="148"/>
                  <a:pt x="201" y="165"/>
                  <a:pt x="193" y="174"/>
                </a:cubicBezTo>
                <a:cubicBezTo>
                  <a:pt x="184" y="184"/>
                  <a:pt x="180" y="187"/>
                  <a:pt x="173" y="187"/>
                </a:cubicBezTo>
                <a:cubicBezTo>
                  <a:pt x="166" y="187"/>
                  <a:pt x="161" y="184"/>
                  <a:pt x="153" y="174"/>
                </a:cubicBezTo>
                <a:cubicBezTo>
                  <a:pt x="145" y="165"/>
                  <a:pt x="141" y="148"/>
                  <a:pt x="141" y="124"/>
                </a:cubicBezTo>
                <a:cubicBezTo>
                  <a:pt x="141" y="104"/>
                  <a:pt x="155" y="88"/>
                  <a:pt x="173" y="88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34" name="Google Shape;8288;p243">
            <a:extLst>
              <a:ext uri="{FF2B5EF4-FFF2-40B4-BE49-F238E27FC236}">
                <a16:creationId xmlns:a16="http://schemas.microsoft.com/office/drawing/2014/main" id="{465FE140-05E1-4828-8098-341852B2A452}"/>
              </a:ext>
            </a:extLst>
          </p:cNvPr>
          <p:cNvSpPr/>
          <p:nvPr/>
        </p:nvSpPr>
        <p:spPr>
          <a:xfrm>
            <a:off x="10315319" y="3591709"/>
            <a:ext cx="274300" cy="27469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288" y="114"/>
                </a:moveTo>
                <a:cubicBezTo>
                  <a:pt x="280" y="114"/>
                  <a:pt x="272" y="118"/>
                  <a:pt x="268" y="125"/>
                </a:cubicBezTo>
                <a:cubicBezTo>
                  <a:pt x="98" y="420"/>
                  <a:pt x="98" y="420"/>
                  <a:pt x="98" y="420"/>
                </a:cubicBezTo>
                <a:cubicBezTo>
                  <a:pt x="89" y="435"/>
                  <a:pt x="100" y="454"/>
                  <a:pt x="118" y="454"/>
                </a:cubicBezTo>
                <a:cubicBezTo>
                  <a:pt x="458" y="454"/>
                  <a:pt x="458" y="454"/>
                  <a:pt x="458" y="454"/>
                </a:cubicBezTo>
                <a:cubicBezTo>
                  <a:pt x="476" y="454"/>
                  <a:pt x="487" y="435"/>
                  <a:pt x="478" y="420"/>
                </a:cubicBezTo>
                <a:cubicBezTo>
                  <a:pt x="308" y="125"/>
                  <a:pt x="308" y="125"/>
                  <a:pt x="308" y="125"/>
                </a:cubicBezTo>
                <a:cubicBezTo>
                  <a:pt x="304" y="118"/>
                  <a:pt x="296" y="114"/>
                  <a:pt x="288" y="114"/>
                </a:cubicBezTo>
                <a:close/>
                <a:moveTo>
                  <a:pt x="120" y="430"/>
                </a:moveTo>
                <a:cubicBezTo>
                  <a:pt x="288" y="139"/>
                  <a:pt x="288" y="139"/>
                  <a:pt x="288" y="139"/>
                </a:cubicBezTo>
                <a:cubicBezTo>
                  <a:pt x="456" y="430"/>
                  <a:pt x="456" y="430"/>
                  <a:pt x="456" y="430"/>
                </a:cubicBezTo>
                <a:lnTo>
                  <a:pt x="120" y="430"/>
                </a:lnTo>
                <a:close/>
                <a:moveTo>
                  <a:pt x="276" y="237"/>
                </a:moveTo>
                <a:cubicBezTo>
                  <a:pt x="276" y="337"/>
                  <a:pt x="276" y="337"/>
                  <a:pt x="276" y="337"/>
                </a:cubicBezTo>
                <a:cubicBezTo>
                  <a:pt x="300" y="337"/>
                  <a:pt x="300" y="337"/>
                  <a:pt x="300" y="337"/>
                </a:cubicBezTo>
                <a:cubicBezTo>
                  <a:pt x="300" y="237"/>
                  <a:pt x="300" y="237"/>
                  <a:pt x="300" y="237"/>
                </a:cubicBezTo>
                <a:lnTo>
                  <a:pt x="276" y="237"/>
                </a:lnTo>
                <a:close/>
                <a:moveTo>
                  <a:pt x="270" y="380"/>
                </a:moveTo>
                <a:cubicBezTo>
                  <a:pt x="270" y="390"/>
                  <a:pt x="278" y="398"/>
                  <a:pt x="288" y="398"/>
                </a:cubicBezTo>
                <a:cubicBezTo>
                  <a:pt x="298" y="398"/>
                  <a:pt x="306" y="390"/>
                  <a:pt x="306" y="380"/>
                </a:cubicBezTo>
                <a:cubicBezTo>
                  <a:pt x="306" y="370"/>
                  <a:pt x="298" y="362"/>
                  <a:pt x="288" y="362"/>
                </a:cubicBezTo>
                <a:cubicBezTo>
                  <a:pt x="278" y="362"/>
                  <a:pt x="270" y="370"/>
                  <a:pt x="270" y="380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35" name="Google Shape;8289;p243">
            <a:extLst>
              <a:ext uri="{FF2B5EF4-FFF2-40B4-BE49-F238E27FC236}">
                <a16:creationId xmlns:a16="http://schemas.microsoft.com/office/drawing/2014/main" id="{4E27F430-A222-438B-BAA7-23CF67D95D40}"/>
              </a:ext>
            </a:extLst>
          </p:cNvPr>
          <p:cNvSpPr/>
          <p:nvPr/>
        </p:nvSpPr>
        <p:spPr>
          <a:xfrm>
            <a:off x="10361737" y="4312730"/>
            <a:ext cx="274321" cy="274321"/>
          </a:xfrm>
          <a:custGeom>
            <a:avLst/>
            <a:gdLst/>
            <a:ahLst/>
            <a:cxnLst/>
            <a:rect l="l" t="t" r="r" b="b"/>
            <a:pathLst>
              <a:path w="705" h="705" extrusionOk="0">
                <a:moveTo>
                  <a:pt x="677" y="256"/>
                </a:moveTo>
                <a:lnTo>
                  <a:pt x="637" y="256"/>
                </a:lnTo>
                <a:lnTo>
                  <a:pt x="637" y="66"/>
                </a:lnTo>
                <a:lnTo>
                  <a:pt x="67" y="66"/>
                </a:lnTo>
                <a:lnTo>
                  <a:pt x="67" y="459"/>
                </a:lnTo>
                <a:lnTo>
                  <a:pt x="422" y="459"/>
                </a:lnTo>
                <a:lnTo>
                  <a:pt x="422" y="494"/>
                </a:lnTo>
                <a:lnTo>
                  <a:pt x="32" y="494"/>
                </a:lnTo>
                <a:lnTo>
                  <a:pt x="32" y="32"/>
                </a:lnTo>
                <a:lnTo>
                  <a:pt x="677" y="32"/>
                </a:lnTo>
                <a:lnTo>
                  <a:pt x="677" y="256"/>
                </a:lnTo>
                <a:close/>
                <a:moveTo>
                  <a:pt x="674" y="309"/>
                </a:moveTo>
                <a:lnTo>
                  <a:pt x="454" y="309"/>
                </a:lnTo>
                <a:lnTo>
                  <a:pt x="454" y="284"/>
                </a:lnTo>
                <a:lnTo>
                  <a:pt x="674" y="284"/>
                </a:lnTo>
                <a:lnTo>
                  <a:pt x="674" y="309"/>
                </a:lnTo>
                <a:close/>
                <a:moveTo>
                  <a:pt x="674" y="579"/>
                </a:moveTo>
                <a:lnTo>
                  <a:pt x="454" y="579"/>
                </a:lnTo>
                <a:lnTo>
                  <a:pt x="454" y="338"/>
                </a:lnTo>
                <a:lnTo>
                  <a:pt x="674" y="338"/>
                </a:lnTo>
                <a:lnTo>
                  <a:pt x="674" y="579"/>
                </a:lnTo>
                <a:close/>
                <a:moveTo>
                  <a:pt x="674" y="675"/>
                </a:moveTo>
                <a:lnTo>
                  <a:pt x="454" y="675"/>
                </a:lnTo>
                <a:lnTo>
                  <a:pt x="454" y="609"/>
                </a:lnTo>
                <a:lnTo>
                  <a:pt x="674" y="609"/>
                </a:lnTo>
                <a:lnTo>
                  <a:pt x="674" y="675"/>
                </a:lnTo>
                <a:close/>
                <a:moveTo>
                  <a:pt x="424" y="431"/>
                </a:moveTo>
                <a:lnTo>
                  <a:pt x="96" y="431"/>
                </a:lnTo>
                <a:lnTo>
                  <a:pt x="96" y="95"/>
                </a:lnTo>
                <a:lnTo>
                  <a:pt x="606" y="95"/>
                </a:lnTo>
                <a:lnTo>
                  <a:pt x="606" y="256"/>
                </a:lnTo>
                <a:lnTo>
                  <a:pt x="424" y="256"/>
                </a:lnTo>
                <a:lnTo>
                  <a:pt x="424" y="431"/>
                </a:lnTo>
                <a:close/>
                <a:moveTo>
                  <a:pt x="424" y="552"/>
                </a:moveTo>
                <a:lnTo>
                  <a:pt x="277" y="552"/>
                </a:lnTo>
                <a:lnTo>
                  <a:pt x="277" y="525"/>
                </a:lnTo>
                <a:lnTo>
                  <a:pt x="424" y="525"/>
                </a:lnTo>
                <a:lnTo>
                  <a:pt x="424" y="552"/>
                </a:lnTo>
                <a:close/>
                <a:moveTo>
                  <a:pt x="422" y="616"/>
                </a:moveTo>
                <a:lnTo>
                  <a:pt x="31" y="616"/>
                </a:lnTo>
                <a:lnTo>
                  <a:pt x="31" y="585"/>
                </a:lnTo>
                <a:lnTo>
                  <a:pt x="422" y="585"/>
                </a:lnTo>
                <a:lnTo>
                  <a:pt x="422" y="616"/>
                </a:lnTo>
                <a:close/>
                <a:moveTo>
                  <a:pt x="705" y="0"/>
                </a:moveTo>
                <a:lnTo>
                  <a:pt x="0" y="0"/>
                </a:lnTo>
                <a:lnTo>
                  <a:pt x="0" y="525"/>
                </a:lnTo>
                <a:lnTo>
                  <a:pt x="247" y="525"/>
                </a:lnTo>
                <a:lnTo>
                  <a:pt x="247" y="552"/>
                </a:lnTo>
                <a:lnTo>
                  <a:pt x="0" y="552"/>
                </a:lnTo>
                <a:lnTo>
                  <a:pt x="0" y="649"/>
                </a:lnTo>
                <a:lnTo>
                  <a:pt x="424" y="649"/>
                </a:lnTo>
                <a:lnTo>
                  <a:pt x="424" y="705"/>
                </a:lnTo>
                <a:lnTo>
                  <a:pt x="705" y="705"/>
                </a:lnTo>
                <a:lnTo>
                  <a:pt x="705" y="0"/>
                </a:lnTo>
                <a:close/>
                <a:moveTo>
                  <a:pt x="548" y="658"/>
                </a:moveTo>
                <a:lnTo>
                  <a:pt x="580" y="658"/>
                </a:lnTo>
                <a:lnTo>
                  <a:pt x="580" y="627"/>
                </a:lnTo>
                <a:lnTo>
                  <a:pt x="548" y="627"/>
                </a:lnTo>
                <a:lnTo>
                  <a:pt x="548" y="65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36" name="Google Shape;8290;p243">
            <a:extLst>
              <a:ext uri="{FF2B5EF4-FFF2-40B4-BE49-F238E27FC236}">
                <a16:creationId xmlns:a16="http://schemas.microsoft.com/office/drawing/2014/main" id="{5ADA0239-01A6-4842-A214-BFFA19E6461C}"/>
              </a:ext>
            </a:extLst>
          </p:cNvPr>
          <p:cNvSpPr/>
          <p:nvPr/>
        </p:nvSpPr>
        <p:spPr>
          <a:xfrm>
            <a:off x="10015211" y="4998917"/>
            <a:ext cx="274320" cy="27432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112" y="469"/>
                </a:moveTo>
                <a:cubicBezTo>
                  <a:pt x="138" y="495"/>
                  <a:pt x="175" y="505"/>
                  <a:pt x="212" y="499"/>
                </a:cubicBezTo>
                <a:cubicBezTo>
                  <a:pt x="212" y="521"/>
                  <a:pt x="212" y="521"/>
                  <a:pt x="212" y="521"/>
                </a:cubicBezTo>
                <a:cubicBezTo>
                  <a:pt x="170" y="528"/>
                  <a:pt x="126" y="516"/>
                  <a:pt x="95" y="485"/>
                </a:cubicBezTo>
                <a:cubicBezTo>
                  <a:pt x="64" y="454"/>
                  <a:pt x="52" y="411"/>
                  <a:pt x="59" y="368"/>
                </a:cubicBezTo>
                <a:cubicBezTo>
                  <a:pt x="82" y="369"/>
                  <a:pt x="82" y="369"/>
                  <a:pt x="82" y="369"/>
                </a:cubicBezTo>
                <a:cubicBezTo>
                  <a:pt x="76" y="405"/>
                  <a:pt x="85" y="442"/>
                  <a:pt x="112" y="469"/>
                </a:cubicBezTo>
                <a:close/>
                <a:moveTo>
                  <a:pt x="212" y="480"/>
                </a:moveTo>
                <a:cubicBezTo>
                  <a:pt x="180" y="485"/>
                  <a:pt x="148" y="477"/>
                  <a:pt x="126" y="455"/>
                </a:cubicBezTo>
                <a:cubicBezTo>
                  <a:pt x="103" y="432"/>
                  <a:pt x="95" y="400"/>
                  <a:pt x="101" y="369"/>
                </a:cubicBezTo>
                <a:cubicBezTo>
                  <a:pt x="122" y="369"/>
                  <a:pt x="122" y="369"/>
                  <a:pt x="122" y="369"/>
                </a:cubicBezTo>
                <a:cubicBezTo>
                  <a:pt x="117" y="394"/>
                  <a:pt x="124" y="420"/>
                  <a:pt x="142" y="439"/>
                </a:cubicBezTo>
                <a:cubicBezTo>
                  <a:pt x="160" y="457"/>
                  <a:pt x="186" y="463"/>
                  <a:pt x="211" y="458"/>
                </a:cubicBezTo>
                <a:lnTo>
                  <a:pt x="212" y="480"/>
                </a:lnTo>
                <a:close/>
                <a:moveTo>
                  <a:pt x="211" y="440"/>
                </a:moveTo>
                <a:cubicBezTo>
                  <a:pt x="191" y="445"/>
                  <a:pt x="170" y="440"/>
                  <a:pt x="155" y="425"/>
                </a:cubicBezTo>
                <a:cubicBezTo>
                  <a:pt x="140" y="411"/>
                  <a:pt x="136" y="390"/>
                  <a:pt x="140" y="369"/>
                </a:cubicBezTo>
                <a:cubicBezTo>
                  <a:pt x="162" y="370"/>
                  <a:pt x="162" y="370"/>
                  <a:pt x="162" y="370"/>
                </a:cubicBezTo>
                <a:cubicBezTo>
                  <a:pt x="158" y="384"/>
                  <a:pt x="161" y="399"/>
                  <a:pt x="171" y="409"/>
                </a:cubicBezTo>
                <a:cubicBezTo>
                  <a:pt x="181" y="419"/>
                  <a:pt x="197" y="422"/>
                  <a:pt x="211" y="418"/>
                </a:cubicBezTo>
                <a:lnTo>
                  <a:pt x="211" y="440"/>
                </a:lnTo>
                <a:close/>
                <a:moveTo>
                  <a:pt x="388" y="274"/>
                </a:moveTo>
                <a:cubicBezTo>
                  <a:pt x="418" y="244"/>
                  <a:pt x="418" y="244"/>
                  <a:pt x="418" y="244"/>
                </a:cubicBezTo>
                <a:cubicBezTo>
                  <a:pt x="325" y="154"/>
                  <a:pt x="325" y="154"/>
                  <a:pt x="325" y="154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150" y="38"/>
                  <a:pt x="150" y="38"/>
                  <a:pt x="150" y="38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215" y="262"/>
                  <a:pt x="215" y="262"/>
                  <a:pt x="215" y="262"/>
                </a:cubicBezTo>
                <a:cubicBezTo>
                  <a:pt x="170" y="289"/>
                  <a:pt x="170" y="289"/>
                  <a:pt x="170" y="289"/>
                </a:cubicBezTo>
                <a:cubicBezTo>
                  <a:pt x="220" y="339"/>
                  <a:pt x="220" y="339"/>
                  <a:pt x="220" y="339"/>
                </a:cubicBezTo>
                <a:cubicBezTo>
                  <a:pt x="191" y="368"/>
                  <a:pt x="191" y="368"/>
                  <a:pt x="191" y="368"/>
                </a:cubicBezTo>
                <a:cubicBezTo>
                  <a:pt x="186" y="373"/>
                  <a:pt x="186" y="381"/>
                  <a:pt x="191" y="386"/>
                </a:cubicBezTo>
                <a:cubicBezTo>
                  <a:pt x="193" y="388"/>
                  <a:pt x="196" y="389"/>
                  <a:pt x="199" y="389"/>
                </a:cubicBezTo>
                <a:cubicBezTo>
                  <a:pt x="203" y="389"/>
                  <a:pt x="206" y="388"/>
                  <a:pt x="208" y="386"/>
                </a:cubicBezTo>
                <a:cubicBezTo>
                  <a:pt x="237" y="356"/>
                  <a:pt x="237" y="356"/>
                  <a:pt x="237" y="356"/>
                </a:cubicBezTo>
                <a:cubicBezTo>
                  <a:pt x="286" y="405"/>
                  <a:pt x="286" y="405"/>
                  <a:pt x="286" y="405"/>
                </a:cubicBezTo>
                <a:cubicBezTo>
                  <a:pt x="313" y="359"/>
                  <a:pt x="313" y="359"/>
                  <a:pt x="313" y="359"/>
                </a:cubicBezTo>
                <a:cubicBezTo>
                  <a:pt x="455" y="499"/>
                  <a:pt x="455" y="499"/>
                  <a:pt x="455" y="499"/>
                </a:cubicBezTo>
                <a:cubicBezTo>
                  <a:pt x="534" y="418"/>
                  <a:pt x="534" y="418"/>
                  <a:pt x="534" y="418"/>
                </a:cubicBezTo>
                <a:lnTo>
                  <a:pt x="388" y="274"/>
                </a:lnTo>
                <a:close/>
                <a:moveTo>
                  <a:pt x="105" y="119"/>
                </a:moveTo>
                <a:cubicBezTo>
                  <a:pt x="150" y="73"/>
                  <a:pt x="150" y="73"/>
                  <a:pt x="150" y="73"/>
                </a:cubicBezTo>
                <a:cubicBezTo>
                  <a:pt x="179" y="101"/>
                  <a:pt x="179" y="101"/>
                  <a:pt x="179" y="101"/>
                </a:cubicBezTo>
                <a:cubicBezTo>
                  <a:pt x="133" y="147"/>
                  <a:pt x="133" y="147"/>
                  <a:pt x="133" y="147"/>
                </a:cubicBezTo>
                <a:lnTo>
                  <a:pt x="105" y="119"/>
                </a:lnTo>
                <a:close/>
                <a:moveTo>
                  <a:pt x="151" y="164"/>
                </a:moveTo>
                <a:cubicBezTo>
                  <a:pt x="196" y="119"/>
                  <a:pt x="196" y="119"/>
                  <a:pt x="196" y="119"/>
                </a:cubicBezTo>
                <a:cubicBezTo>
                  <a:pt x="234" y="156"/>
                  <a:pt x="234" y="156"/>
                  <a:pt x="234" y="156"/>
                </a:cubicBezTo>
                <a:cubicBezTo>
                  <a:pt x="189" y="202"/>
                  <a:pt x="189" y="202"/>
                  <a:pt x="189" y="202"/>
                </a:cubicBezTo>
                <a:lnTo>
                  <a:pt x="151" y="164"/>
                </a:lnTo>
                <a:close/>
                <a:moveTo>
                  <a:pt x="206" y="219"/>
                </a:moveTo>
                <a:cubicBezTo>
                  <a:pt x="251" y="173"/>
                  <a:pt x="251" y="173"/>
                  <a:pt x="251" y="173"/>
                </a:cubicBezTo>
                <a:cubicBezTo>
                  <a:pt x="279" y="201"/>
                  <a:pt x="279" y="201"/>
                  <a:pt x="279" y="201"/>
                </a:cubicBezTo>
                <a:cubicBezTo>
                  <a:pt x="234" y="246"/>
                  <a:pt x="234" y="246"/>
                  <a:pt x="234" y="246"/>
                </a:cubicBezTo>
                <a:lnTo>
                  <a:pt x="206" y="219"/>
                </a:lnTo>
                <a:close/>
                <a:moveTo>
                  <a:pt x="281" y="365"/>
                </a:moveTo>
                <a:cubicBezTo>
                  <a:pt x="210" y="294"/>
                  <a:pt x="210" y="294"/>
                  <a:pt x="210" y="294"/>
                </a:cubicBezTo>
                <a:cubicBezTo>
                  <a:pt x="233" y="280"/>
                  <a:pt x="233" y="280"/>
                  <a:pt x="233" y="280"/>
                </a:cubicBezTo>
                <a:cubicBezTo>
                  <a:pt x="278" y="324"/>
                  <a:pt x="278" y="324"/>
                  <a:pt x="278" y="324"/>
                </a:cubicBezTo>
                <a:cubicBezTo>
                  <a:pt x="295" y="341"/>
                  <a:pt x="295" y="341"/>
                  <a:pt x="295" y="341"/>
                </a:cubicBezTo>
                <a:lnTo>
                  <a:pt x="281" y="365"/>
                </a:lnTo>
                <a:close/>
                <a:moveTo>
                  <a:pt x="309" y="320"/>
                </a:moveTo>
                <a:cubicBezTo>
                  <a:pt x="295" y="307"/>
                  <a:pt x="295" y="307"/>
                  <a:pt x="295" y="307"/>
                </a:cubicBezTo>
                <a:cubicBezTo>
                  <a:pt x="252" y="263"/>
                  <a:pt x="252" y="263"/>
                  <a:pt x="252" y="263"/>
                </a:cubicBezTo>
                <a:cubicBezTo>
                  <a:pt x="326" y="188"/>
                  <a:pt x="326" y="188"/>
                  <a:pt x="326" y="188"/>
                </a:cubicBezTo>
                <a:cubicBezTo>
                  <a:pt x="383" y="245"/>
                  <a:pt x="383" y="245"/>
                  <a:pt x="383" y="245"/>
                </a:cubicBezTo>
                <a:lnTo>
                  <a:pt x="309" y="320"/>
                </a:lnTo>
                <a:close/>
                <a:moveTo>
                  <a:pt x="326" y="337"/>
                </a:moveTo>
                <a:cubicBezTo>
                  <a:pt x="371" y="291"/>
                  <a:pt x="371" y="291"/>
                  <a:pt x="371" y="291"/>
                </a:cubicBezTo>
                <a:cubicBezTo>
                  <a:pt x="402" y="321"/>
                  <a:pt x="402" y="321"/>
                  <a:pt x="402" y="321"/>
                </a:cubicBezTo>
                <a:cubicBezTo>
                  <a:pt x="356" y="367"/>
                  <a:pt x="356" y="367"/>
                  <a:pt x="356" y="367"/>
                </a:cubicBezTo>
                <a:lnTo>
                  <a:pt x="326" y="337"/>
                </a:lnTo>
                <a:close/>
                <a:moveTo>
                  <a:pt x="374" y="384"/>
                </a:moveTo>
                <a:cubicBezTo>
                  <a:pt x="419" y="339"/>
                  <a:pt x="419" y="339"/>
                  <a:pt x="419" y="339"/>
                </a:cubicBezTo>
                <a:cubicBezTo>
                  <a:pt x="451" y="370"/>
                  <a:pt x="451" y="370"/>
                  <a:pt x="451" y="370"/>
                </a:cubicBezTo>
                <a:cubicBezTo>
                  <a:pt x="406" y="416"/>
                  <a:pt x="406" y="416"/>
                  <a:pt x="406" y="416"/>
                </a:cubicBezTo>
                <a:lnTo>
                  <a:pt x="374" y="384"/>
                </a:lnTo>
                <a:close/>
                <a:moveTo>
                  <a:pt x="455" y="464"/>
                </a:moveTo>
                <a:cubicBezTo>
                  <a:pt x="424" y="433"/>
                  <a:pt x="424" y="433"/>
                  <a:pt x="424" y="433"/>
                </a:cubicBezTo>
                <a:cubicBezTo>
                  <a:pt x="469" y="388"/>
                  <a:pt x="469" y="388"/>
                  <a:pt x="469" y="388"/>
                </a:cubicBezTo>
                <a:cubicBezTo>
                  <a:pt x="500" y="418"/>
                  <a:pt x="500" y="418"/>
                  <a:pt x="500" y="418"/>
                </a:cubicBezTo>
                <a:lnTo>
                  <a:pt x="455" y="4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000000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37" name="Google Shape;8291;p243">
            <a:extLst>
              <a:ext uri="{FF2B5EF4-FFF2-40B4-BE49-F238E27FC236}">
                <a16:creationId xmlns:a16="http://schemas.microsoft.com/office/drawing/2014/main" id="{BE65EB5F-C282-4395-9775-CA24013172C5}"/>
              </a:ext>
            </a:extLst>
          </p:cNvPr>
          <p:cNvSpPr/>
          <p:nvPr/>
        </p:nvSpPr>
        <p:spPr>
          <a:xfrm>
            <a:off x="9187784" y="5222303"/>
            <a:ext cx="274321" cy="27432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211" y="488"/>
                </a:moveTo>
                <a:lnTo>
                  <a:pt x="159" y="488"/>
                </a:lnTo>
                <a:lnTo>
                  <a:pt x="159" y="402"/>
                </a:lnTo>
                <a:lnTo>
                  <a:pt x="337" y="402"/>
                </a:lnTo>
                <a:lnTo>
                  <a:pt x="337" y="488"/>
                </a:lnTo>
                <a:lnTo>
                  <a:pt x="285" y="488"/>
                </a:lnTo>
                <a:lnTo>
                  <a:pt x="285" y="623"/>
                </a:lnTo>
                <a:lnTo>
                  <a:pt x="419" y="623"/>
                </a:lnTo>
                <a:lnTo>
                  <a:pt x="419" y="488"/>
                </a:lnTo>
                <a:lnTo>
                  <a:pt x="367" y="488"/>
                </a:lnTo>
                <a:lnTo>
                  <a:pt x="367" y="402"/>
                </a:lnTo>
                <a:lnTo>
                  <a:pt x="544" y="402"/>
                </a:lnTo>
                <a:lnTo>
                  <a:pt x="544" y="488"/>
                </a:lnTo>
                <a:lnTo>
                  <a:pt x="492" y="488"/>
                </a:lnTo>
                <a:lnTo>
                  <a:pt x="492" y="623"/>
                </a:lnTo>
                <a:lnTo>
                  <a:pt x="626" y="623"/>
                </a:lnTo>
                <a:lnTo>
                  <a:pt x="626" y="488"/>
                </a:lnTo>
                <a:lnTo>
                  <a:pt x="574" y="488"/>
                </a:lnTo>
                <a:lnTo>
                  <a:pt x="574" y="373"/>
                </a:lnTo>
                <a:lnTo>
                  <a:pt x="367" y="373"/>
                </a:lnTo>
                <a:lnTo>
                  <a:pt x="367" y="217"/>
                </a:lnTo>
                <a:lnTo>
                  <a:pt x="419" y="217"/>
                </a:lnTo>
                <a:lnTo>
                  <a:pt x="419" y="83"/>
                </a:lnTo>
                <a:lnTo>
                  <a:pt x="285" y="83"/>
                </a:lnTo>
                <a:lnTo>
                  <a:pt x="285" y="217"/>
                </a:lnTo>
                <a:lnTo>
                  <a:pt x="337" y="217"/>
                </a:lnTo>
                <a:lnTo>
                  <a:pt x="337" y="373"/>
                </a:lnTo>
                <a:lnTo>
                  <a:pt x="129" y="373"/>
                </a:lnTo>
                <a:lnTo>
                  <a:pt x="129" y="488"/>
                </a:lnTo>
                <a:lnTo>
                  <a:pt x="78" y="488"/>
                </a:lnTo>
                <a:lnTo>
                  <a:pt x="78" y="623"/>
                </a:lnTo>
                <a:lnTo>
                  <a:pt x="211" y="623"/>
                </a:lnTo>
                <a:lnTo>
                  <a:pt x="211" y="488"/>
                </a:lnTo>
                <a:close/>
                <a:moveTo>
                  <a:pt x="389" y="592"/>
                </a:moveTo>
                <a:lnTo>
                  <a:pt x="315" y="592"/>
                </a:lnTo>
                <a:lnTo>
                  <a:pt x="315" y="518"/>
                </a:lnTo>
                <a:lnTo>
                  <a:pt x="389" y="518"/>
                </a:lnTo>
                <a:lnTo>
                  <a:pt x="389" y="592"/>
                </a:lnTo>
                <a:close/>
                <a:moveTo>
                  <a:pt x="596" y="592"/>
                </a:moveTo>
                <a:lnTo>
                  <a:pt x="522" y="592"/>
                </a:lnTo>
                <a:lnTo>
                  <a:pt x="522" y="518"/>
                </a:lnTo>
                <a:lnTo>
                  <a:pt x="596" y="518"/>
                </a:lnTo>
                <a:lnTo>
                  <a:pt x="596" y="592"/>
                </a:lnTo>
                <a:close/>
                <a:moveTo>
                  <a:pt x="181" y="592"/>
                </a:moveTo>
                <a:lnTo>
                  <a:pt x="107" y="592"/>
                </a:lnTo>
                <a:lnTo>
                  <a:pt x="107" y="518"/>
                </a:lnTo>
                <a:lnTo>
                  <a:pt x="181" y="518"/>
                </a:lnTo>
                <a:lnTo>
                  <a:pt x="181" y="592"/>
                </a:lnTo>
                <a:close/>
                <a:moveTo>
                  <a:pt x="704" y="0"/>
                </a:moveTo>
                <a:lnTo>
                  <a:pt x="704" y="29"/>
                </a:lnTo>
                <a:lnTo>
                  <a:pt x="673" y="29"/>
                </a:lnTo>
                <a:lnTo>
                  <a:pt x="673" y="0"/>
                </a:lnTo>
                <a:lnTo>
                  <a:pt x="704" y="0"/>
                </a:lnTo>
                <a:close/>
                <a:moveTo>
                  <a:pt x="71" y="29"/>
                </a:moveTo>
                <a:lnTo>
                  <a:pt x="43" y="29"/>
                </a:lnTo>
                <a:lnTo>
                  <a:pt x="43" y="0"/>
                </a:lnTo>
                <a:lnTo>
                  <a:pt x="71" y="0"/>
                </a:lnTo>
                <a:lnTo>
                  <a:pt x="71" y="29"/>
                </a:lnTo>
                <a:close/>
                <a:moveTo>
                  <a:pt x="239" y="29"/>
                </a:moveTo>
                <a:lnTo>
                  <a:pt x="211" y="29"/>
                </a:lnTo>
                <a:lnTo>
                  <a:pt x="211" y="0"/>
                </a:lnTo>
                <a:lnTo>
                  <a:pt x="239" y="0"/>
                </a:lnTo>
                <a:lnTo>
                  <a:pt x="239" y="29"/>
                </a:lnTo>
                <a:close/>
                <a:moveTo>
                  <a:pt x="450" y="29"/>
                </a:moveTo>
                <a:lnTo>
                  <a:pt x="422" y="29"/>
                </a:lnTo>
                <a:lnTo>
                  <a:pt x="422" y="0"/>
                </a:lnTo>
                <a:lnTo>
                  <a:pt x="450" y="0"/>
                </a:lnTo>
                <a:lnTo>
                  <a:pt x="450" y="29"/>
                </a:lnTo>
                <a:close/>
                <a:moveTo>
                  <a:pt x="365" y="29"/>
                </a:moveTo>
                <a:lnTo>
                  <a:pt x="337" y="29"/>
                </a:lnTo>
                <a:lnTo>
                  <a:pt x="337" y="0"/>
                </a:lnTo>
                <a:lnTo>
                  <a:pt x="365" y="0"/>
                </a:lnTo>
                <a:lnTo>
                  <a:pt x="365" y="29"/>
                </a:lnTo>
                <a:close/>
                <a:moveTo>
                  <a:pt x="324" y="29"/>
                </a:moveTo>
                <a:lnTo>
                  <a:pt x="296" y="29"/>
                </a:lnTo>
                <a:lnTo>
                  <a:pt x="296" y="0"/>
                </a:lnTo>
                <a:lnTo>
                  <a:pt x="324" y="0"/>
                </a:lnTo>
                <a:lnTo>
                  <a:pt x="324" y="29"/>
                </a:lnTo>
                <a:close/>
                <a:moveTo>
                  <a:pt x="492" y="29"/>
                </a:moveTo>
                <a:lnTo>
                  <a:pt x="464" y="29"/>
                </a:lnTo>
                <a:lnTo>
                  <a:pt x="464" y="0"/>
                </a:lnTo>
                <a:lnTo>
                  <a:pt x="492" y="0"/>
                </a:lnTo>
                <a:lnTo>
                  <a:pt x="492" y="29"/>
                </a:lnTo>
                <a:close/>
                <a:moveTo>
                  <a:pt x="281" y="29"/>
                </a:moveTo>
                <a:lnTo>
                  <a:pt x="253" y="29"/>
                </a:lnTo>
                <a:lnTo>
                  <a:pt x="253" y="0"/>
                </a:lnTo>
                <a:lnTo>
                  <a:pt x="281" y="0"/>
                </a:lnTo>
                <a:lnTo>
                  <a:pt x="281" y="29"/>
                </a:lnTo>
                <a:close/>
                <a:moveTo>
                  <a:pt x="112" y="29"/>
                </a:moveTo>
                <a:lnTo>
                  <a:pt x="84" y="29"/>
                </a:lnTo>
                <a:lnTo>
                  <a:pt x="84" y="0"/>
                </a:lnTo>
                <a:lnTo>
                  <a:pt x="112" y="0"/>
                </a:lnTo>
                <a:lnTo>
                  <a:pt x="112" y="29"/>
                </a:lnTo>
                <a:close/>
                <a:moveTo>
                  <a:pt x="197" y="29"/>
                </a:moveTo>
                <a:lnTo>
                  <a:pt x="169" y="29"/>
                </a:lnTo>
                <a:lnTo>
                  <a:pt x="169" y="0"/>
                </a:lnTo>
                <a:lnTo>
                  <a:pt x="197" y="0"/>
                </a:lnTo>
                <a:lnTo>
                  <a:pt x="197" y="29"/>
                </a:lnTo>
                <a:close/>
                <a:moveTo>
                  <a:pt x="155" y="29"/>
                </a:moveTo>
                <a:lnTo>
                  <a:pt x="127" y="29"/>
                </a:lnTo>
                <a:lnTo>
                  <a:pt x="127" y="0"/>
                </a:lnTo>
                <a:lnTo>
                  <a:pt x="155" y="0"/>
                </a:lnTo>
                <a:lnTo>
                  <a:pt x="155" y="29"/>
                </a:lnTo>
                <a:close/>
                <a:moveTo>
                  <a:pt x="408" y="29"/>
                </a:moveTo>
                <a:lnTo>
                  <a:pt x="380" y="29"/>
                </a:lnTo>
                <a:lnTo>
                  <a:pt x="380" y="0"/>
                </a:lnTo>
                <a:lnTo>
                  <a:pt x="408" y="0"/>
                </a:lnTo>
                <a:lnTo>
                  <a:pt x="408" y="29"/>
                </a:lnTo>
                <a:close/>
                <a:moveTo>
                  <a:pt x="618" y="29"/>
                </a:moveTo>
                <a:lnTo>
                  <a:pt x="590" y="29"/>
                </a:lnTo>
                <a:lnTo>
                  <a:pt x="590" y="0"/>
                </a:lnTo>
                <a:lnTo>
                  <a:pt x="618" y="0"/>
                </a:lnTo>
                <a:lnTo>
                  <a:pt x="618" y="29"/>
                </a:lnTo>
                <a:close/>
                <a:moveTo>
                  <a:pt x="534" y="29"/>
                </a:moveTo>
                <a:lnTo>
                  <a:pt x="506" y="29"/>
                </a:lnTo>
                <a:lnTo>
                  <a:pt x="506" y="0"/>
                </a:lnTo>
                <a:lnTo>
                  <a:pt x="534" y="0"/>
                </a:lnTo>
                <a:lnTo>
                  <a:pt x="534" y="29"/>
                </a:lnTo>
                <a:close/>
                <a:moveTo>
                  <a:pt x="661" y="29"/>
                </a:moveTo>
                <a:lnTo>
                  <a:pt x="633" y="29"/>
                </a:lnTo>
                <a:lnTo>
                  <a:pt x="633" y="0"/>
                </a:lnTo>
                <a:lnTo>
                  <a:pt x="661" y="0"/>
                </a:lnTo>
                <a:lnTo>
                  <a:pt x="661" y="29"/>
                </a:lnTo>
                <a:close/>
                <a:moveTo>
                  <a:pt x="577" y="29"/>
                </a:moveTo>
                <a:lnTo>
                  <a:pt x="549" y="29"/>
                </a:lnTo>
                <a:lnTo>
                  <a:pt x="549" y="0"/>
                </a:lnTo>
                <a:lnTo>
                  <a:pt x="577" y="0"/>
                </a:lnTo>
                <a:lnTo>
                  <a:pt x="577" y="29"/>
                </a:lnTo>
                <a:close/>
                <a:moveTo>
                  <a:pt x="29" y="29"/>
                </a:moveTo>
                <a:lnTo>
                  <a:pt x="0" y="29"/>
                </a:lnTo>
                <a:lnTo>
                  <a:pt x="0" y="0"/>
                </a:lnTo>
                <a:lnTo>
                  <a:pt x="29" y="0"/>
                </a:lnTo>
                <a:lnTo>
                  <a:pt x="29" y="29"/>
                </a:lnTo>
                <a:close/>
                <a:moveTo>
                  <a:pt x="29" y="108"/>
                </a:moveTo>
                <a:lnTo>
                  <a:pt x="0" y="108"/>
                </a:lnTo>
                <a:lnTo>
                  <a:pt x="0" y="82"/>
                </a:lnTo>
                <a:lnTo>
                  <a:pt x="29" y="82"/>
                </a:lnTo>
                <a:lnTo>
                  <a:pt x="29" y="108"/>
                </a:lnTo>
                <a:close/>
                <a:moveTo>
                  <a:pt x="29" y="69"/>
                </a:moveTo>
                <a:lnTo>
                  <a:pt x="0" y="69"/>
                </a:lnTo>
                <a:lnTo>
                  <a:pt x="0" y="42"/>
                </a:lnTo>
                <a:lnTo>
                  <a:pt x="29" y="42"/>
                </a:lnTo>
                <a:lnTo>
                  <a:pt x="29" y="69"/>
                </a:lnTo>
                <a:close/>
                <a:moveTo>
                  <a:pt x="29" y="267"/>
                </a:moveTo>
                <a:lnTo>
                  <a:pt x="0" y="267"/>
                </a:lnTo>
                <a:lnTo>
                  <a:pt x="0" y="241"/>
                </a:lnTo>
                <a:lnTo>
                  <a:pt x="29" y="241"/>
                </a:lnTo>
                <a:lnTo>
                  <a:pt x="29" y="267"/>
                </a:lnTo>
                <a:close/>
                <a:moveTo>
                  <a:pt x="29" y="228"/>
                </a:moveTo>
                <a:lnTo>
                  <a:pt x="0" y="228"/>
                </a:lnTo>
                <a:lnTo>
                  <a:pt x="0" y="201"/>
                </a:lnTo>
                <a:lnTo>
                  <a:pt x="29" y="201"/>
                </a:lnTo>
                <a:lnTo>
                  <a:pt x="29" y="228"/>
                </a:lnTo>
                <a:close/>
                <a:moveTo>
                  <a:pt x="29" y="148"/>
                </a:moveTo>
                <a:lnTo>
                  <a:pt x="0" y="148"/>
                </a:lnTo>
                <a:lnTo>
                  <a:pt x="0" y="121"/>
                </a:lnTo>
                <a:lnTo>
                  <a:pt x="29" y="121"/>
                </a:lnTo>
                <a:lnTo>
                  <a:pt x="29" y="148"/>
                </a:lnTo>
                <a:close/>
                <a:moveTo>
                  <a:pt x="29" y="188"/>
                </a:moveTo>
                <a:lnTo>
                  <a:pt x="0" y="188"/>
                </a:lnTo>
                <a:lnTo>
                  <a:pt x="0" y="162"/>
                </a:lnTo>
                <a:lnTo>
                  <a:pt x="29" y="162"/>
                </a:lnTo>
                <a:lnTo>
                  <a:pt x="29" y="188"/>
                </a:lnTo>
                <a:close/>
                <a:moveTo>
                  <a:pt x="618" y="310"/>
                </a:moveTo>
                <a:lnTo>
                  <a:pt x="590" y="310"/>
                </a:lnTo>
                <a:lnTo>
                  <a:pt x="590" y="279"/>
                </a:lnTo>
                <a:lnTo>
                  <a:pt x="618" y="279"/>
                </a:lnTo>
                <a:lnTo>
                  <a:pt x="618" y="310"/>
                </a:lnTo>
                <a:close/>
                <a:moveTo>
                  <a:pt x="492" y="310"/>
                </a:moveTo>
                <a:lnTo>
                  <a:pt x="464" y="310"/>
                </a:lnTo>
                <a:lnTo>
                  <a:pt x="464" y="279"/>
                </a:lnTo>
                <a:lnTo>
                  <a:pt x="492" y="279"/>
                </a:lnTo>
                <a:lnTo>
                  <a:pt x="492" y="310"/>
                </a:lnTo>
                <a:close/>
                <a:moveTo>
                  <a:pt x="577" y="310"/>
                </a:moveTo>
                <a:lnTo>
                  <a:pt x="549" y="310"/>
                </a:lnTo>
                <a:lnTo>
                  <a:pt x="549" y="279"/>
                </a:lnTo>
                <a:lnTo>
                  <a:pt x="577" y="279"/>
                </a:lnTo>
                <a:lnTo>
                  <a:pt x="577" y="310"/>
                </a:lnTo>
                <a:close/>
                <a:moveTo>
                  <a:pt x="534" y="310"/>
                </a:moveTo>
                <a:lnTo>
                  <a:pt x="506" y="310"/>
                </a:lnTo>
                <a:lnTo>
                  <a:pt x="506" y="279"/>
                </a:lnTo>
                <a:lnTo>
                  <a:pt x="534" y="279"/>
                </a:lnTo>
                <a:lnTo>
                  <a:pt x="534" y="310"/>
                </a:lnTo>
                <a:close/>
                <a:moveTo>
                  <a:pt x="450" y="310"/>
                </a:moveTo>
                <a:lnTo>
                  <a:pt x="422" y="310"/>
                </a:lnTo>
                <a:lnTo>
                  <a:pt x="422" y="279"/>
                </a:lnTo>
                <a:lnTo>
                  <a:pt x="450" y="279"/>
                </a:lnTo>
                <a:lnTo>
                  <a:pt x="450" y="310"/>
                </a:lnTo>
                <a:close/>
                <a:moveTo>
                  <a:pt x="661" y="310"/>
                </a:moveTo>
                <a:lnTo>
                  <a:pt x="633" y="310"/>
                </a:lnTo>
                <a:lnTo>
                  <a:pt x="633" y="279"/>
                </a:lnTo>
                <a:lnTo>
                  <a:pt x="661" y="279"/>
                </a:lnTo>
                <a:lnTo>
                  <a:pt x="661" y="310"/>
                </a:lnTo>
                <a:close/>
                <a:moveTo>
                  <a:pt x="324" y="279"/>
                </a:moveTo>
                <a:lnTo>
                  <a:pt x="324" y="310"/>
                </a:lnTo>
                <a:lnTo>
                  <a:pt x="296" y="310"/>
                </a:lnTo>
                <a:lnTo>
                  <a:pt x="296" y="279"/>
                </a:lnTo>
                <a:lnTo>
                  <a:pt x="324" y="279"/>
                </a:lnTo>
                <a:close/>
                <a:moveTo>
                  <a:pt x="380" y="310"/>
                </a:moveTo>
                <a:lnTo>
                  <a:pt x="380" y="279"/>
                </a:lnTo>
                <a:lnTo>
                  <a:pt x="408" y="279"/>
                </a:lnTo>
                <a:lnTo>
                  <a:pt x="408" y="310"/>
                </a:lnTo>
                <a:lnTo>
                  <a:pt x="380" y="310"/>
                </a:lnTo>
                <a:close/>
                <a:moveTo>
                  <a:pt x="112" y="310"/>
                </a:moveTo>
                <a:lnTo>
                  <a:pt x="84" y="310"/>
                </a:lnTo>
                <a:lnTo>
                  <a:pt x="84" y="279"/>
                </a:lnTo>
                <a:lnTo>
                  <a:pt x="112" y="279"/>
                </a:lnTo>
                <a:lnTo>
                  <a:pt x="112" y="310"/>
                </a:lnTo>
                <a:close/>
                <a:moveTo>
                  <a:pt x="71" y="310"/>
                </a:moveTo>
                <a:lnTo>
                  <a:pt x="43" y="310"/>
                </a:lnTo>
                <a:lnTo>
                  <a:pt x="43" y="279"/>
                </a:lnTo>
                <a:lnTo>
                  <a:pt x="71" y="279"/>
                </a:lnTo>
                <a:lnTo>
                  <a:pt x="71" y="310"/>
                </a:lnTo>
                <a:close/>
                <a:moveTo>
                  <a:pt x="281" y="310"/>
                </a:moveTo>
                <a:lnTo>
                  <a:pt x="253" y="310"/>
                </a:lnTo>
                <a:lnTo>
                  <a:pt x="253" y="279"/>
                </a:lnTo>
                <a:lnTo>
                  <a:pt x="281" y="279"/>
                </a:lnTo>
                <a:lnTo>
                  <a:pt x="281" y="310"/>
                </a:lnTo>
                <a:close/>
                <a:moveTo>
                  <a:pt x="239" y="310"/>
                </a:moveTo>
                <a:lnTo>
                  <a:pt x="211" y="310"/>
                </a:lnTo>
                <a:lnTo>
                  <a:pt x="211" y="279"/>
                </a:lnTo>
                <a:lnTo>
                  <a:pt x="239" y="279"/>
                </a:lnTo>
                <a:lnTo>
                  <a:pt x="239" y="310"/>
                </a:lnTo>
                <a:close/>
                <a:moveTo>
                  <a:pt x="197" y="310"/>
                </a:moveTo>
                <a:lnTo>
                  <a:pt x="169" y="310"/>
                </a:lnTo>
                <a:lnTo>
                  <a:pt x="169" y="279"/>
                </a:lnTo>
                <a:lnTo>
                  <a:pt x="197" y="279"/>
                </a:lnTo>
                <a:lnTo>
                  <a:pt x="197" y="310"/>
                </a:lnTo>
                <a:close/>
                <a:moveTo>
                  <a:pt x="155" y="310"/>
                </a:moveTo>
                <a:lnTo>
                  <a:pt x="127" y="310"/>
                </a:lnTo>
                <a:lnTo>
                  <a:pt x="127" y="279"/>
                </a:lnTo>
                <a:lnTo>
                  <a:pt x="155" y="279"/>
                </a:lnTo>
                <a:lnTo>
                  <a:pt x="155" y="310"/>
                </a:lnTo>
                <a:close/>
                <a:moveTo>
                  <a:pt x="673" y="279"/>
                </a:moveTo>
                <a:lnTo>
                  <a:pt x="704" y="279"/>
                </a:lnTo>
                <a:lnTo>
                  <a:pt x="704" y="310"/>
                </a:lnTo>
                <a:lnTo>
                  <a:pt x="704" y="311"/>
                </a:lnTo>
                <a:lnTo>
                  <a:pt x="704" y="706"/>
                </a:lnTo>
                <a:lnTo>
                  <a:pt x="0" y="706"/>
                </a:lnTo>
                <a:lnTo>
                  <a:pt x="0" y="310"/>
                </a:lnTo>
                <a:lnTo>
                  <a:pt x="0" y="310"/>
                </a:lnTo>
                <a:lnTo>
                  <a:pt x="0" y="279"/>
                </a:lnTo>
                <a:lnTo>
                  <a:pt x="29" y="279"/>
                </a:lnTo>
                <a:lnTo>
                  <a:pt x="29" y="313"/>
                </a:lnTo>
                <a:lnTo>
                  <a:pt x="29" y="313"/>
                </a:lnTo>
                <a:lnTo>
                  <a:pt x="29" y="675"/>
                </a:lnTo>
                <a:lnTo>
                  <a:pt x="673" y="675"/>
                </a:lnTo>
                <a:lnTo>
                  <a:pt x="673" y="311"/>
                </a:lnTo>
                <a:lnTo>
                  <a:pt x="673" y="310"/>
                </a:lnTo>
                <a:lnTo>
                  <a:pt x="673" y="279"/>
                </a:lnTo>
                <a:close/>
                <a:moveTo>
                  <a:pt x="673" y="162"/>
                </a:moveTo>
                <a:lnTo>
                  <a:pt x="704" y="162"/>
                </a:lnTo>
                <a:lnTo>
                  <a:pt x="704" y="188"/>
                </a:lnTo>
                <a:lnTo>
                  <a:pt x="673" y="188"/>
                </a:lnTo>
                <a:lnTo>
                  <a:pt x="673" y="162"/>
                </a:lnTo>
                <a:close/>
                <a:moveTo>
                  <a:pt x="673" y="82"/>
                </a:moveTo>
                <a:lnTo>
                  <a:pt x="704" y="82"/>
                </a:lnTo>
                <a:lnTo>
                  <a:pt x="704" y="108"/>
                </a:lnTo>
                <a:lnTo>
                  <a:pt x="673" y="108"/>
                </a:lnTo>
                <a:lnTo>
                  <a:pt x="673" y="82"/>
                </a:lnTo>
                <a:close/>
                <a:moveTo>
                  <a:pt x="673" y="121"/>
                </a:moveTo>
                <a:lnTo>
                  <a:pt x="704" y="121"/>
                </a:lnTo>
                <a:lnTo>
                  <a:pt x="704" y="148"/>
                </a:lnTo>
                <a:lnTo>
                  <a:pt x="673" y="148"/>
                </a:lnTo>
                <a:lnTo>
                  <a:pt x="673" y="121"/>
                </a:lnTo>
                <a:close/>
                <a:moveTo>
                  <a:pt x="673" y="201"/>
                </a:moveTo>
                <a:lnTo>
                  <a:pt x="704" y="201"/>
                </a:lnTo>
                <a:lnTo>
                  <a:pt x="704" y="228"/>
                </a:lnTo>
                <a:lnTo>
                  <a:pt x="673" y="228"/>
                </a:lnTo>
                <a:lnTo>
                  <a:pt x="673" y="201"/>
                </a:lnTo>
                <a:close/>
                <a:moveTo>
                  <a:pt x="673" y="42"/>
                </a:moveTo>
                <a:lnTo>
                  <a:pt x="704" y="42"/>
                </a:lnTo>
                <a:lnTo>
                  <a:pt x="704" y="69"/>
                </a:lnTo>
                <a:lnTo>
                  <a:pt x="673" y="69"/>
                </a:lnTo>
                <a:lnTo>
                  <a:pt x="673" y="42"/>
                </a:lnTo>
                <a:close/>
                <a:moveTo>
                  <a:pt x="673" y="241"/>
                </a:moveTo>
                <a:lnTo>
                  <a:pt x="704" y="241"/>
                </a:lnTo>
                <a:lnTo>
                  <a:pt x="704" y="267"/>
                </a:lnTo>
                <a:lnTo>
                  <a:pt x="673" y="267"/>
                </a:lnTo>
                <a:lnTo>
                  <a:pt x="673" y="24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0000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40" name="Google Shape;8292;p243">
            <a:extLst>
              <a:ext uri="{FF2B5EF4-FFF2-40B4-BE49-F238E27FC236}">
                <a16:creationId xmlns:a16="http://schemas.microsoft.com/office/drawing/2014/main" id="{F968722A-DF9F-481C-92FC-17CBAE437915}"/>
              </a:ext>
            </a:extLst>
          </p:cNvPr>
          <p:cNvSpPr/>
          <p:nvPr/>
        </p:nvSpPr>
        <p:spPr>
          <a:xfrm>
            <a:off x="8439967" y="5067436"/>
            <a:ext cx="274320" cy="27432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98" y="317"/>
                </a:moveTo>
                <a:cubicBezTo>
                  <a:pt x="172" y="323"/>
                  <a:pt x="155" y="349"/>
                  <a:pt x="161" y="375"/>
                </a:cubicBezTo>
                <a:cubicBezTo>
                  <a:pt x="164" y="387"/>
                  <a:pt x="171" y="398"/>
                  <a:pt x="182" y="405"/>
                </a:cubicBezTo>
                <a:cubicBezTo>
                  <a:pt x="190" y="410"/>
                  <a:pt x="199" y="412"/>
                  <a:pt x="208" y="412"/>
                </a:cubicBezTo>
                <a:cubicBezTo>
                  <a:pt x="212" y="412"/>
                  <a:pt x="215" y="412"/>
                  <a:pt x="218" y="411"/>
                </a:cubicBezTo>
                <a:cubicBezTo>
                  <a:pt x="244" y="406"/>
                  <a:pt x="261" y="380"/>
                  <a:pt x="255" y="354"/>
                </a:cubicBezTo>
                <a:cubicBezTo>
                  <a:pt x="249" y="328"/>
                  <a:pt x="224" y="312"/>
                  <a:pt x="198" y="317"/>
                </a:cubicBezTo>
                <a:close/>
                <a:moveTo>
                  <a:pt x="228" y="377"/>
                </a:moveTo>
                <a:cubicBezTo>
                  <a:pt x="225" y="383"/>
                  <a:pt x="219" y="386"/>
                  <a:pt x="213" y="388"/>
                </a:cubicBezTo>
                <a:cubicBezTo>
                  <a:pt x="207" y="389"/>
                  <a:pt x="201" y="388"/>
                  <a:pt x="195" y="384"/>
                </a:cubicBezTo>
                <a:cubicBezTo>
                  <a:pt x="190" y="381"/>
                  <a:pt x="186" y="376"/>
                  <a:pt x="185" y="369"/>
                </a:cubicBezTo>
                <a:cubicBezTo>
                  <a:pt x="182" y="357"/>
                  <a:pt x="190" y="344"/>
                  <a:pt x="203" y="341"/>
                </a:cubicBezTo>
                <a:cubicBezTo>
                  <a:pt x="209" y="340"/>
                  <a:pt x="216" y="341"/>
                  <a:pt x="221" y="344"/>
                </a:cubicBezTo>
                <a:cubicBezTo>
                  <a:pt x="226" y="348"/>
                  <a:pt x="230" y="353"/>
                  <a:pt x="231" y="359"/>
                </a:cubicBezTo>
                <a:cubicBezTo>
                  <a:pt x="233" y="365"/>
                  <a:pt x="232" y="372"/>
                  <a:pt x="228" y="377"/>
                </a:cubicBezTo>
                <a:close/>
                <a:moveTo>
                  <a:pt x="360" y="370"/>
                </a:moveTo>
                <a:cubicBezTo>
                  <a:pt x="344" y="295"/>
                  <a:pt x="344" y="295"/>
                  <a:pt x="344" y="295"/>
                </a:cubicBezTo>
                <a:cubicBezTo>
                  <a:pt x="306" y="294"/>
                  <a:pt x="306" y="294"/>
                  <a:pt x="306" y="294"/>
                </a:cubicBezTo>
                <a:cubicBezTo>
                  <a:pt x="300" y="287"/>
                  <a:pt x="294" y="280"/>
                  <a:pt x="287" y="274"/>
                </a:cubicBezTo>
                <a:cubicBezTo>
                  <a:pt x="289" y="236"/>
                  <a:pt x="289" y="236"/>
                  <a:pt x="289" y="236"/>
                </a:cubicBezTo>
                <a:cubicBezTo>
                  <a:pt x="216" y="212"/>
                  <a:pt x="216" y="212"/>
                  <a:pt x="216" y="212"/>
                </a:cubicBezTo>
                <a:cubicBezTo>
                  <a:pt x="196" y="245"/>
                  <a:pt x="196" y="245"/>
                  <a:pt x="196" y="245"/>
                </a:cubicBezTo>
                <a:cubicBezTo>
                  <a:pt x="191" y="245"/>
                  <a:pt x="187" y="246"/>
                  <a:pt x="182" y="247"/>
                </a:cubicBezTo>
                <a:cubicBezTo>
                  <a:pt x="178" y="248"/>
                  <a:pt x="174" y="249"/>
                  <a:pt x="169" y="251"/>
                </a:cubicBezTo>
                <a:cubicBezTo>
                  <a:pt x="137" y="230"/>
                  <a:pt x="137" y="230"/>
                  <a:pt x="137" y="230"/>
                </a:cubicBezTo>
                <a:cubicBezTo>
                  <a:pt x="81" y="282"/>
                  <a:pt x="81" y="282"/>
                  <a:pt x="81" y="282"/>
                </a:cubicBezTo>
                <a:cubicBezTo>
                  <a:pt x="99" y="315"/>
                  <a:pt x="99" y="315"/>
                  <a:pt x="99" y="315"/>
                </a:cubicBezTo>
                <a:cubicBezTo>
                  <a:pt x="95" y="324"/>
                  <a:pt x="92" y="333"/>
                  <a:pt x="90" y="341"/>
                </a:cubicBezTo>
                <a:cubicBezTo>
                  <a:pt x="56" y="358"/>
                  <a:pt x="56" y="358"/>
                  <a:pt x="56" y="358"/>
                </a:cubicBezTo>
                <a:cubicBezTo>
                  <a:pt x="73" y="433"/>
                  <a:pt x="73" y="433"/>
                  <a:pt x="73" y="433"/>
                </a:cubicBezTo>
                <a:cubicBezTo>
                  <a:pt x="111" y="434"/>
                  <a:pt x="111" y="434"/>
                  <a:pt x="111" y="434"/>
                </a:cubicBezTo>
                <a:cubicBezTo>
                  <a:pt x="116" y="442"/>
                  <a:pt x="122" y="449"/>
                  <a:pt x="129" y="455"/>
                </a:cubicBezTo>
                <a:cubicBezTo>
                  <a:pt x="127" y="493"/>
                  <a:pt x="127" y="493"/>
                  <a:pt x="127" y="493"/>
                </a:cubicBezTo>
                <a:cubicBezTo>
                  <a:pt x="200" y="516"/>
                  <a:pt x="200" y="516"/>
                  <a:pt x="200" y="516"/>
                </a:cubicBezTo>
                <a:cubicBezTo>
                  <a:pt x="220" y="484"/>
                  <a:pt x="220" y="484"/>
                  <a:pt x="220" y="484"/>
                </a:cubicBezTo>
                <a:cubicBezTo>
                  <a:pt x="225" y="483"/>
                  <a:pt x="230" y="482"/>
                  <a:pt x="234" y="482"/>
                </a:cubicBezTo>
                <a:cubicBezTo>
                  <a:pt x="238" y="481"/>
                  <a:pt x="242" y="479"/>
                  <a:pt x="247" y="478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336" y="447"/>
                  <a:pt x="336" y="447"/>
                  <a:pt x="336" y="447"/>
                </a:cubicBezTo>
                <a:cubicBezTo>
                  <a:pt x="318" y="413"/>
                  <a:pt x="318" y="413"/>
                  <a:pt x="318" y="413"/>
                </a:cubicBezTo>
                <a:cubicBezTo>
                  <a:pt x="321" y="405"/>
                  <a:pt x="324" y="396"/>
                  <a:pt x="326" y="387"/>
                </a:cubicBezTo>
                <a:lnTo>
                  <a:pt x="360" y="370"/>
                </a:lnTo>
                <a:close/>
                <a:moveTo>
                  <a:pt x="304" y="371"/>
                </a:moveTo>
                <a:cubicBezTo>
                  <a:pt x="302" y="381"/>
                  <a:pt x="302" y="381"/>
                  <a:pt x="302" y="381"/>
                </a:cubicBezTo>
                <a:cubicBezTo>
                  <a:pt x="301" y="389"/>
                  <a:pt x="299" y="397"/>
                  <a:pt x="295" y="405"/>
                </a:cubicBezTo>
                <a:cubicBezTo>
                  <a:pt x="290" y="414"/>
                  <a:pt x="290" y="414"/>
                  <a:pt x="290" y="414"/>
                </a:cubicBezTo>
                <a:cubicBezTo>
                  <a:pt x="305" y="442"/>
                  <a:pt x="305" y="442"/>
                  <a:pt x="305" y="442"/>
                </a:cubicBezTo>
                <a:cubicBezTo>
                  <a:pt x="277" y="468"/>
                  <a:pt x="277" y="468"/>
                  <a:pt x="277" y="468"/>
                </a:cubicBezTo>
                <a:cubicBezTo>
                  <a:pt x="250" y="451"/>
                  <a:pt x="250" y="451"/>
                  <a:pt x="250" y="451"/>
                </a:cubicBezTo>
                <a:cubicBezTo>
                  <a:pt x="240" y="454"/>
                  <a:pt x="240" y="454"/>
                  <a:pt x="240" y="454"/>
                </a:cubicBezTo>
                <a:cubicBezTo>
                  <a:pt x="236" y="456"/>
                  <a:pt x="232" y="457"/>
                  <a:pt x="229" y="458"/>
                </a:cubicBezTo>
                <a:cubicBezTo>
                  <a:pt x="225" y="459"/>
                  <a:pt x="221" y="459"/>
                  <a:pt x="217" y="460"/>
                </a:cubicBezTo>
                <a:cubicBezTo>
                  <a:pt x="206" y="461"/>
                  <a:pt x="206" y="461"/>
                  <a:pt x="206" y="461"/>
                </a:cubicBezTo>
                <a:cubicBezTo>
                  <a:pt x="190" y="487"/>
                  <a:pt x="190" y="487"/>
                  <a:pt x="190" y="487"/>
                </a:cubicBezTo>
                <a:cubicBezTo>
                  <a:pt x="152" y="476"/>
                  <a:pt x="152" y="476"/>
                  <a:pt x="152" y="476"/>
                </a:cubicBezTo>
                <a:cubicBezTo>
                  <a:pt x="154" y="444"/>
                  <a:pt x="154" y="444"/>
                  <a:pt x="154" y="444"/>
                </a:cubicBezTo>
                <a:cubicBezTo>
                  <a:pt x="146" y="437"/>
                  <a:pt x="146" y="437"/>
                  <a:pt x="146" y="437"/>
                </a:cubicBezTo>
                <a:cubicBezTo>
                  <a:pt x="140" y="432"/>
                  <a:pt x="134" y="426"/>
                  <a:pt x="130" y="419"/>
                </a:cubicBezTo>
                <a:cubicBezTo>
                  <a:pt x="124" y="411"/>
                  <a:pt x="124" y="411"/>
                  <a:pt x="124" y="411"/>
                </a:cubicBezTo>
                <a:cubicBezTo>
                  <a:pt x="92" y="410"/>
                  <a:pt x="92" y="410"/>
                  <a:pt x="92" y="410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112" y="358"/>
                  <a:pt x="112" y="358"/>
                  <a:pt x="112" y="358"/>
                </a:cubicBezTo>
                <a:cubicBezTo>
                  <a:pt x="114" y="347"/>
                  <a:pt x="114" y="347"/>
                  <a:pt x="114" y="347"/>
                </a:cubicBezTo>
                <a:cubicBezTo>
                  <a:pt x="115" y="339"/>
                  <a:pt x="118" y="332"/>
                  <a:pt x="121" y="324"/>
                </a:cubicBezTo>
                <a:cubicBezTo>
                  <a:pt x="126" y="314"/>
                  <a:pt x="126" y="314"/>
                  <a:pt x="126" y="314"/>
                </a:cubicBezTo>
                <a:cubicBezTo>
                  <a:pt x="111" y="287"/>
                  <a:pt x="111" y="287"/>
                  <a:pt x="111" y="287"/>
                </a:cubicBezTo>
                <a:cubicBezTo>
                  <a:pt x="140" y="260"/>
                  <a:pt x="140" y="260"/>
                  <a:pt x="140" y="260"/>
                </a:cubicBezTo>
                <a:cubicBezTo>
                  <a:pt x="166" y="278"/>
                  <a:pt x="166" y="278"/>
                  <a:pt x="166" y="278"/>
                </a:cubicBezTo>
                <a:cubicBezTo>
                  <a:pt x="176" y="274"/>
                  <a:pt x="176" y="274"/>
                  <a:pt x="176" y="274"/>
                </a:cubicBezTo>
                <a:cubicBezTo>
                  <a:pt x="180" y="273"/>
                  <a:pt x="184" y="271"/>
                  <a:pt x="188" y="271"/>
                </a:cubicBezTo>
                <a:cubicBezTo>
                  <a:pt x="191" y="270"/>
                  <a:pt x="195" y="269"/>
                  <a:pt x="200" y="269"/>
                </a:cubicBezTo>
                <a:cubicBezTo>
                  <a:pt x="210" y="268"/>
                  <a:pt x="210" y="268"/>
                  <a:pt x="210" y="268"/>
                </a:cubicBezTo>
                <a:cubicBezTo>
                  <a:pt x="227" y="241"/>
                  <a:pt x="227" y="241"/>
                  <a:pt x="227" y="241"/>
                </a:cubicBezTo>
                <a:cubicBezTo>
                  <a:pt x="264" y="253"/>
                  <a:pt x="264" y="253"/>
                  <a:pt x="264" y="253"/>
                </a:cubicBezTo>
                <a:cubicBezTo>
                  <a:pt x="262" y="284"/>
                  <a:pt x="262" y="284"/>
                  <a:pt x="262" y="284"/>
                </a:cubicBezTo>
                <a:cubicBezTo>
                  <a:pt x="270" y="291"/>
                  <a:pt x="270" y="291"/>
                  <a:pt x="270" y="291"/>
                </a:cubicBezTo>
                <a:cubicBezTo>
                  <a:pt x="277" y="297"/>
                  <a:pt x="282" y="303"/>
                  <a:pt x="287" y="309"/>
                </a:cubicBezTo>
                <a:cubicBezTo>
                  <a:pt x="293" y="318"/>
                  <a:pt x="293" y="318"/>
                  <a:pt x="293" y="318"/>
                </a:cubicBezTo>
                <a:cubicBezTo>
                  <a:pt x="324" y="319"/>
                  <a:pt x="324" y="319"/>
                  <a:pt x="324" y="319"/>
                </a:cubicBezTo>
                <a:cubicBezTo>
                  <a:pt x="332" y="357"/>
                  <a:pt x="332" y="357"/>
                  <a:pt x="332" y="357"/>
                </a:cubicBezTo>
                <a:lnTo>
                  <a:pt x="304" y="371"/>
                </a:lnTo>
                <a:close/>
                <a:moveTo>
                  <a:pt x="497" y="170"/>
                </a:moveTo>
                <a:cubicBezTo>
                  <a:pt x="497" y="167"/>
                  <a:pt x="496" y="164"/>
                  <a:pt x="496" y="161"/>
                </a:cubicBezTo>
                <a:cubicBezTo>
                  <a:pt x="495" y="159"/>
                  <a:pt x="494" y="156"/>
                  <a:pt x="493" y="153"/>
                </a:cubicBezTo>
                <a:cubicBezTo>
                  <a:pt x="509" y="130"/>
                  <a:pt x="509" y="130"/>
                  <a:pt x="509" y="130"/>
                </a:cubicBezTo>
                <a:cubicBezTo>
                  <a:pt x="468" y="85"/>
                  <a:pt x="468" y="85"/>
                  <a:pt x="468" y="85"/>
                </a:cubicBezTo>
                <a:cubicBezTo>
                  <a:pt x="444" y="99"/>
                  <a:pt x="444" y="99"/>
                  <a:pt x="444" y="99"/>
                </a:cubicBezTo>
                <a:cubicBezTo>
                  <a:pt x="438" y="97"/>
                  <a:pt x="433" y="95"/>
                  <a:pt x="428" y="94"/>
                </a:cubicBezTo>
                <a:cubicBezTo>
                  <a:pt x="416" y="69"/>
                  <a:pt x="416" y="69"/>
                  <a:pt x="416" y="69"/>
                </a:cubicBezTo>
                <a:cubicBezTo>
                  <a:pt x="356" y="82"/>
                  <a:pt x="356" y="82"/>
                  <a:pt x="356" y="82"/>
                </a:cubicBezTo>
                <a:cubicBezTo>
                  <a:pt x="356" y="110"/>
                  <a:pt x="356" y="110"/>
                  <a:pt x="356" y="110"/>
                </a:cubicBezTo>
                <a:cubicBezTo>
                  <a:pt x="351" y="113"/>
                  <a:pt x="347" y="117"/>
                  <a:pt x="343" y="121"/>
                </a:cubicBezTo>
                <a:cubicBezTo>
                  <a:pt x="315" y="119"/>
                  <a:pt x="315" y="119"/>
                  <a:pt x="315" y="119"/>
                </a:cubicBezTo>
                <a:cubicBezTo>
                  <a:pt x="297" y="177"/>
                  <a:pt x="297" y="177"/>
                  <a:pt x="297" y="177"/>
                </a:cubicBezTo>
                <a:cubicBezTo>
                  <a:pt x="321" y="191"/>
                  <a:pt x="321" y="191"/>
                  <a:pt x="321" y="191"/>
                </a:cubicBezTo>
                <a:cubicBezTo>
                  <a:pt x="321" y="194"/>
                  <a:pt x="322" y="197"/>
                  <a:pt x="322" y="199"/>
                </a:cubicBezTo>
                <a:cubicBezTo>
                  <a:pt x="323" y="202"/>
                  <a:pt x="324" y="205"/>
                  <a:pt x="325" y="208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50" y="275"/>
                  <a:pt x="350" y="275"/>
                  <a:pt x="350" y="275"/>
                </a:cubicBezTo>
                <a:cubicBezTo>
                  <a:pt x="374" y="262"/>
                  <a:pt x="374" y="262"/>
                  <a:pt x="374" y="262"/>
                </a:cubicBezTo>
                <a:cubicBezTo>
                  <a:pt x="380" y="264"/>
                  <a:pt x="385" y="266"/>
                  <a:pt x="390" y="267"/>
                </a:cubicBezTo>
                <a:cubicBezTo>
                  <a:pt x="403" y="292"/>
                  <a:pt x="403" y="292"/>
                  <a:pt x="403" y="292"/>
                </a:cubicBezTo>
                <a:cubicBezTo>
                  <a:pt x="462" y="279"/>
                  <a:pt x="462" y="279"/>
                  <a:pt x="462" y="279"/>
                </a:cubicBezTo>
                <a:cubicBezTo>
                  <a:pt x="462" y="251"/>
                  <a:pt x="462" y="251"/>
                  <a:pt x="462" y="251"/>
                </a:cubicBezTo>
                <a:cubicBezTo>
                  <a:pt x="467" y="248"/>
                  <a:pt x="471" y="244"/>
                  <a:pt x="475" y="240"/>
                </a:cubicBezTo>
                <a:cubicBezTo>
                  <a:pt x="503" y="242"/>
                  <a:pt x="503" y="242"/>
                  <a:pt x="503" y="242"/>
                </a:cubicBezTo>
                <a:cubicBezTo>
                  <a:pt x="521" y="184"/>
                  <a:pt x="521" y="184"/>
                  <a:pt x="521" y="184"/>
                </a:cubicBezTo>
                <a:lnTo>
                  <a:pt x="497" y="170"/>
                </a:lnTo>
                <a:close/>
                <a:moveTo>
                  <a:pt x="352" y="211"/>
                </a:moveTo>
                <a:cubicBezTo>
                  <a:pt x="349" y="202"/>
                  <a:pt x="349" y="202"/>
                  <a:pt x="349" y="202"/>
                </a:cubicBezTo>
                <a:cubicBezTo>
                  <a:pt x="348" y="199"/>
                  <a:pt x="347" y="197"/>
                  <a:pt x="346" y="194"/>
                </a:cubicBezTo>
                <a:cubicBezTo>
                  <a:pt x="346" y="192"/>
                  <a:pt x="346" y="189"/>
                  <a:pt x="345" y="186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26" y="166"/>
                  <a:pt x="326" y="166"/>
                  <a:pt x="326" y="166"/>
                </a:cubicBezTo>
                <a:cubicBezTo>
                  <a:pt x="333" y="145"/>
                  <a:pt x="333" y="145"/>
                  <a:pt x="333" y="145"/>
                </a:cubicBezTo>
                <a:cubicBezTo>
                  <a:pt x="354" y="146"/>
                  <a:pt x="354" y="146"/>
                  <a:pt x="354" y="146"/>
                </a:cubicBezTo>
                <a:cubicBezTo>
                  <a:pt x="360" y="139"/>
                  <a:pt x="360" y="139"/>
                  <a:pt x="360" y="139"/>
                </a:cubicBezTo>
                <a:cubicBezTo>
                  <a:pt x="364" y="135"/>
                  <a:pt x="368" y="131"/>
                  <a:pt x="372" y="128"/>
                </a:cubicBezTo>
                <a:cubicBezTo>
                  <a:pt x="380" y="123"/>
                  <a:pt x="380" y="123"/>
                  <a:pt x="380" y="123"/>
                </a:cubicBezTo>
                <a:cubicBezTo>
                  <a:pt x="381" y="102"/>
                  <a:pt x="381" y="102"/>
                  <a:pt x="381" y="102"/>
                </a:cubicBezTo>
                <a:cubicBezTo>
                  <a:pt x="402" y="97"/>
                  <a:pt x="402" y="97"/>
                  <a:pt x="402" y="97"/>
                </a:cubicBezTo>
                <a:cubicBezTo>
                  <a:pt x="411" y="116"/>
                  <a:pt x="411" y="116"/>
                  <a:pt x="411" y="116"/>
                </a:cubicBezTo>
                <a:cubicBezTo>
                  <a:pt x="420" y="117"/>
                  <a:pt x="420" y="117"/>
                  <a:pt x="420" y="117"/>
                </a:cubicBezTo>
                <a:cubicBezTo>
                  <a:pt x="426" y="118"/>
                  <a:pt x="431" y="120"/>
                  <a:pt x="436" y="123"/>
                </a:cubicBezTo>
                <a:cubicBezTo>
                  <a:pt x="444" y="126"/>
                  <a:pt x="444" y="126"/>
                  <a:pt x="444" y="12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78" y="132"/>
                  <a:pt x="478" y="132"/>
                  <a:pt x="478" y="132"/>
                </a:cubicBezTo>
                <a:cubicBezTo>
                  <a:pt x="466" y="150"/>
                  <a:pt x="466" y="150"/>
                  <a:pt x="466" y="150"/>
                </a:cubicBezTo>
                <a:cubicBezTo>
                  <a:pt x="469" y="159"/>
                  <a:pt x="469" y="159"/>
                  <a:pt x="469" y="159"/>
                </a:cubicBezTo>
                <a:cubicBezTo>
                  <a:pt x="470" y="162"/>
                  <a:pt x="471" y="164"/>
                  <a:pt x="472" y="167"/>
                </a:cubicBezTo>
                <a:cubicBezTo>
                  <a:pt x="472" y="169"/>
                  <a:pt x="472" y="172"/>
                  <a:pt x="473" y="175"/>
                </a:cubicBezTo>
                <a:cubicBezTo>
                  <a:pt x="474" y="184"/>
                  <a:pt x="474" y="184"/>
                  <a:pt x="474" y="184"/>
                </a:cubicBezTo>
                <a:cubicBezTo>
                  <a:pt x="492" y="195"/>
                  <a:pt x="492" y="195"/>
                  <a:pt x="492" y="195"/>
                </a:cubicBezTo>
                <a:cubicBezTo>
                  <a:pt x="485" y="216"/>
                  <a:pt x="485" y="216"/>
                  <a:pt x="485" y="216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58" y="222"/>
                  <a:pt x="458" y="222"/>
                  <a:pt x="458" y="222"/>
                </a:cubicBezTo>
                <a:cubicBezTo>
                  <a:pt x="454" y="226"/>
                  <a:pt x="450" y="230"/>
                  <a:pt x="446" y="233"/>
                </a:cubicBezTo>
                <a:cubicBezTo>
                  <a:pt x="438" y="238"/>
                  <a:pt x="438" y="238"/>
                  <a:pt x="438" y="238"/>
                </a:cubicBezTo>
                <a:cubicBezTo>
                  <a:pt x="437" y="259"/>
                  <a:pt x="437" y="259"/>
                  <a:pt x="437" y="259"/>
                </a:cubicBezTo>
                <a:cubicBezTo>
                  <a:pt x="416" y="264"/>
                  <a:pt x="416" y="264"/>
                  <a:pt x="416" y="264"/>
                </a:cubicBezTo>
                <a:cubicBezTo>
                  <a:pt x="407" y="245"/>
                  <a:pt x="407" y="245"/>
                  <a:pt x="407" y="245"/>
                </a:cubicBezTo>
                <a:cubicBezTo>
                  <a:pt x="398" y="243"/>
                  <a:pt x="398" y="243"/>
                  <a:pt x="398" y="243"/>
                </a:cubicBezTo>
                <a:cubicBezTo>
                  <a:pt x="392" y="243"/>
                  <a:pt x="387" y="241"/>
                  <a:pt x="382" y="238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55" y="245"/>
                  <a:pt x="355" y="245"/>
                  <a:pt x="355" y="245"/>
                </a:cubicBezTo>
                <a:cubicBezTo>
                  <a:pt x="340" y="229"/>
                  <a:pt x="340" y="229"/>
                  <a:pt x="340" y="229"/>
                </a:cubicBezTo>
                <a:lnTo>
                  <a:pt x="352" y="211"/>
                </a:lnTo>
                <a:close/>
                <a:moveTo>
                  <a:pt x="389" y="212"/>
                </a:moveTo>
                <a:cubicBezTo>
                  <a:pt x="395" y="216"/>
                  <a:pt x="402" y="218"/>
                  <a:pt x="409" y="218"/>
                </a:cubicBezTo>
                <a:cubicBezTo>
                  <a:pt x="412" y="218"/>
                  <a:pt x="414" y="218"/>
                  <a:pt x="417" y="217"/>
                </a:cubicBezTo>
                <a:cubicBezTo>
                  <a:pt x="437" y="213"/>
                  <a:pt x="450" y="193"/>
                  <a:pt x="446" y="172"/>
                </a:cubicBezTo>
                <a:cubicBezTo>
                  <a:pt x="446" y="172"/>
                  <a:pt x="446" y="172"/>
                  <a:pt x="446" y="172"/>
                </a:cubicBezTo>
                <a:cubicBezTo>
                  <a:pt x="441" y="152"/>
                  <a:pt x="421" y="139"/>
                  <a:pt x="401" y="144"/>
                </a:cubicBezTo>
                <a:cubicBezTo>
                  <a:pt x="391" y="146"/>
                  <a:pt x="383" y="152"/>
                  <a:pt x="377" y="160"/>
                </a:cubicBezTo>
                <a:cubicBezTo>
                  <a:pt x="372" y="169"/>
                  <a:pt x="370" y="179"/>
                  <a:pt x="372" y="189"/>
                </a:cubicBezTo>
                <a:cubicBezTo>
                  <a:pt x="374" y="198"/>
                  <a:pt x="380" y="207"/>
                  <a:pt x="389" y="212"/>
                </a:cubicBezTo>
                <a:close/>
                <a:moveTo>
                  <a:pt x="398" y="173"/>
                </a:moveTo>
                <a:cubicBezTo>
                  <a:pt x="400" y="170"/>
                  <a:pt x="403" y="168"/>
                  <a:pt x="406" y="168"/>
                </a:cubicBezTo>
                <a:cubicBezTo>
                  <a:pt x="407" y="167"/>
                  <a:pt x="408" y="167"/>
                  <a:pt x="409" y="167"/>
                </a:cubicBezTo>
                <a:cubicBezTo>
                  <a:pt x="415" y="167"/>
                  <a:pt x="420" y="172"/>
                  <a:pt x="422" y="178"/>
                </a:cubicBezTo>
                <a:cubicBezTo>
                  <a:pt x="423" y="181"/>
                  <a:pt x="422" y="185"/>
                  <a:pt x="420" y="188"/>
                </a:cubicBezTo>
                <a:cubicBezTo>
                  <a:pt x="418" y="190"/>
                  <a:pt x="415" y="193"/>
                  <a:pt x="412" y="193"/>
                </a:cubicBezTo>
                <a:cubicBezTo>
                  <a:pt x="405" y="195"/>
                  <a:pt x="398" y="190"/>
                  <a:pt x="396" y="183"/>
                </a:cubicBezTo>
                <a:cubicBezTo>
                  <a:pt x="395" y="180"/>
                  <a:pt x="396" y="176"/>
                  <a:pt x="398" y="173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 dirty="0">
              <a:solidFill>
                <a:srgbClr val="000000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41" name="Google Shape;8293;p243">
            <a:extLst>
              <a:ext uri="{FF2B5EF4-FFF2-40B4-BE49-F238E27FC236}">
                <a16:creationId xmlns:a16="http://schemas.microsoft.com/office/drawing/2014/main" id="{65495EA8-5F9B-40A9-9A26-403C7A8B763C}"/>
              </a:ext>
            </a:extLst>
          </p:cNvPr>
          <p:cNvSpPr/>
          <p:nvPr/>
        </p:nvSpPr>
        <p:spPr>
          <a:xfrm>
            <a:off x="8037733" y="4312730"/>
            <a:ext cx="274321" cy="274320"/>
          </a:xfrm>
          <a:custGeom>
            <a:avLst/>
            <a:gdLst/>
            <a:ahLst/>
            <a:cxnLst/>
            <a:rect l="l" t="t" r="r" b="b"/>
            <a:pathLst>
              <a:path w="704" h="706" extrusionOk="0">
                <a:moveTo>
                  <a:pt x="704" y="706"/>
                </a:moveTo>
                <a:lnTo>
                  <a:pt x="0" y="706"/>
                </a:lnTo>
                <a:lnTo>
                  <a:pt x="0" y="0"/>
                </a:lnTo>
                <a:lnTo>
                  <a:pt x="704" y="0"/>
                </a:lnTo>
                <a:lnTo>
                  <a:pt x="704" y="706"/>
                </a:lnTo>
                <a:close/>
                <a:moveTo>
                  <a:pt x="29" y="675"/>
                </a:moveTo>
                <a:lnTo>
                  <a:pt x="673" y="675"/>
                </a:lnTo>
                <a:lnTo>
                  <a:pt x="673" y="29"/>
                </a:lnTo>
                <a:lnTo>
                  <a:pt x="29" y="29"/>
                </a:lnTo>
                <a:lnTo>
                  <a:pt x="29" y="675"/>
                </a:lnTo>
                <a:close/>
                <a:moveTo>
                  <a:pt x="483" y="371"/>
                </a:moveTo>
                <a:lnTo>
                  <a:pt x="465" y="402"/>
                </a:lnTo>
                <a:lnTo>
                  <a:pt x="434" y="384"/>
                </a:lnTo>
                <a:lnTo>
                  <a:pt x="451" y="353"/>
                </a:lnTo>
                <a:lnTo>
                  <a:pt x="434" y="322"/>
                </a:lnTo>
                <a:lnTo>
                  <a:pt x="465" y="304"/>
                </a:lnTo>
                <a:lnTo>
                  <a:pt x="483" y="335"/>
                </a:lnTo>
                <a:lnTo>
                  <a:pt x="584" y="335"/>
                </a:lnTo>
                <a:lnTo>
                  <a:pt x="634" y="247"/>
                </a:lnTo>
                <a:lnTo>
                  <a:pt x="584" y="159"/>
                </a:lnTo>
                <a:lnTo>
                  <a:pt x="483" y="159"/>
                </a:lnTo>
                <a:lnTo>
                  <a:pt x="432" y="247"/>
                </a:lnTo>
                <a:lnTo>
                  <a:pt x="450" y="278"/>
                </a:lnTo>
                <a:lnTo>
                  <a:pt x="418" y="295"/>
                </a:lnTo>
                <a:lnTo>
                  <a:pt x="401" y="265"/>
                </a:lnTo>
                <a:lnTo>
                  <a:pt x="365" y="265"/>
                </a:lnTo>
                <a:lnTo>
                  <a:pt x="365" y="229"/>
                </a:lnTo>
                <a:lnTo>
                  <a:pt x="401" y="229"/>
                </a:lnTo>
                <a:lnTo>
                  <a:pt x="451" y="141"/>
                </a:lnTo>
                <a:lnTo>
                  <a:pt x="401" y="54"/>
                </a:lnTo>
                <a:lnTo>
                  <a:pt x="299" y="54"/>
                </a:lnTo>
                <a:lnTo>
                  <a:pt x="249" y="141"/>
                </a:lnTo>
                <a:lnTo>
                  <a:pt x="299" y="229"/>
                </a:lnTo>
                <a:lnTo>
                  <a:pt x="335" y="229"/>
                </a:lnTo>
                <a:lnTo>
                  <a:pt x="335" y="265"/>
                </a:lnTo>
                <a:lnTo>
                  <a:pt x="299" y="265"/>
                </a:lnTo>
                <a:lnTo>
                  <a:pt x="282" y="295"/>
                </a:lnTo>
                <a:lnTo>
                  <a:pt x="253" y="279"/>
                </a:lnTo>
                <a:lnTo>
                  <a:pt x="271" y="247"/>
                </a:lnTo>
                <a:lnTo>
                  <a:pt x="220" y="159"/>
                </a:lnTo>
                <a:lnTo>
                  <a:pt x="120" y="159"/>
                </a:lnTo>
                <a:lnTo>
                  <a:pt x="68" y="247"/>
                </a:lnTo>
                <a:lnTo>
                  <a:pt x="120" y="335"/>
                </a:lnTo>
                <a:lnTo>
                  <a:pt x="220" y="335"/>
                </a:lnTo>
                <a:lnTo>
                  <a:pt x="237" y="305"/>
                </a:lnTo>
                <a:lnTo>
                  <a:pt x="266" y="322"/>
                </a:lnTo>
                <a:lnTo>
                  <a:pt x="249" y="353"/>
                </a:lnTo>
                <a:lnTo>
                  <a:pt x="266" y="384"/>
                </a:lnTo>
                <a:lnTo>
                  <a:pt x="237" y="401"/>
                </a:lnTo>
                <a:lnTo>
                  <a:pt x="220" y="371"/>
                </a:lnTo>
                <a:lnTo>
                  <a:pt x="120" y="371"/>
                </a:lnTo>
                <a:lnTo>
                  <a:pt x="68" y="458"/>
                </a:lnTo>
                <a:lnTo>
                  <a:pt x="120" y="547"/>
                </a:lnTo>
                <a:lnTo>
                  <a:pt x="220" y="547"/>
                </a:lnTo>
                <a:lnTo>
                  <a:pt x="271" y="458"/>
                </a:lnTo>
                <a:lnTo>
                  <a:pt x="253" y="426"/>
                </a:lnTo>
                <a:lnTo>
                  <a:pt x="282" y="409"/>
                </a:lnTo>
                <a:lnTo>
                  <a:pt x="299" y="440"/>
                </a:lnTo>
                <a:lnTo>
                  <a:pt x="335" y="440"/>
                </a:lnTo>
                <a:lnTo>
                  <a:pt x="335" y="477"/>
                </a:lnTo>
                <a:lnTo>
                  <a:pt x="299" y="477"/>
                </a:lnTo>
                <a:lnTo>
                  <a:pt x="249" y="564"/>
                </a:lnTo>
                <a:lnTo>
                  <a:pt x="299" y="652"/>
                </a:lnTo>
                <a:lnTo>
                  <a:pt x="401" y="652"/>
                </a:lnTo>
                <a:lnTo>
                  <a:pt x="451" y="564"/>
                </a:lnTo>
                <a:lnTo>
                  <a:pt x="401" y="477"/>
                </a:lnTo>
                <a:lnTo>
                  <a:pt x="365" y="477"/>
                </a:lnTo>
                <a:lnTo>
                  <a:pt x="365" y="440"/>
                </a:lnTo>
                <a:lnTo>
                  <a:pt x="401" y="440"/>
                </a:lnTo>
                <a:lnTo>
                  <a:pt x="418" y="409"/>
                </a:lnTo>
                <a:lnTo>
                  <a:pt x="450" y="428"/>
                </a:lnTo>
                <a:lnTo>
                  <a:pt x="432" y="458"/>
                </a:lnTo>
                <a:lnTo>
                  <a:pt x="483" y="547"/>
                </a:lnTo>
                <a:lnTo>
                  <a:pt x="584" y="547"/>
                </a:lnTo>
                <a:lnTo>
                  <a:pt x="634" y="458"/>
                </a:lnTo>
                <a:lnTo>
                  <a:pt x="584" y="371"/>
                </a:lnTo>
                <a:lnTo>
                  <a:pt x="483" y="371"/>
                </a:lnTo>
                <a:close/>
                <a:moveTo>
                  <a:pt x="500" y="190"/>
                </a:moveTo>
                <a:lnTo>
                  <a:pt x="567" y="190"/>
                </a:lnTo>
                <a:lnTo>
                  <a:pt x="600" y="247"/>
                </a:lnTo>
                <a:lnTo>
                  <a:pt x="567" y="305"/>
                </a:lnTo>
                <a:lnTo>
                  <a:pt x="500" y="305"/>
                </a:lnTo>
                <a:lnTo>
                  <a:pt x="467" y="247"/>
                </a:lnTo>
                <a:lnTo>
                  <a:pt x="500" y="190"/>
                </a:lnTo>
                <a:close/>
                <a:moveTo>
                  <a:pt x="316" y="198"/>
                </a:moveTo>
                <a:lnTo>
                  <a:pt x="283" y="141"/>
                </a:lnTo>
                <a:lnTo>
                  <a:pt x="316" y="83"/>
                </a:lnTo>
                <a:lnTo>
                  <a:pt x="384" y="83"/>
                </a:lnTo>
                <a:lnTo>
                  <a:pt x="417" y="141"/>
                </a:lnTo>
                <a:lnTo>
                  <a:pt x="384" y="198"/>
                </a:lnTo>
                <a:lnTo>
                  <a:pt x="316" y="198"/>
                </a:lnTo>
                <a:close/>
                <a:moveTo>
                  <a:pt x="203" y="305"/>
                </a:moveTo>
                <a:lnTo>
                  <a:pt x="137" y="305"/>
                </a:lnTo>
                <a:lnTo>
                  <a:pt x="104" y="247"/>
                </a:lnTo>
                <a:lnTo>
                  <a:pt x="137" y="190"/>
                </a:lnTo>
                <a:lnTo>
                  <a:pt x="203" y="190"/>
                </a:lnTo>
                <a:lnTo>
                  <a:pt x="236" y="247"/>
                </a:lnTo>
                <a:lnTo>
                  <a:pt x="203" y="305"/>
                </a:lnTo>
                <a:close/>
                <a:moveTo>
                  <a:pt x="203" y="516"/>
                </a:moveTo>
                <a:lnTo>
                  <a:pt x="137" y="516"/>
                </a:lnTo>
                <a:lnTo>
                  <a:pt x="104" y="458"/>
                </a:lnTo>
                <a:lnTo>
                  <a:pt x="137" y="401"/>
                </a:lnTo>
                <a:lnTo>
                  <a:pt x="203" y="401"/>
                </a:lnTo>
                <a:lnTo>
                  <a:pt x="236" y="458"/>
                </a:lnTo>
                <a:lnTo>
                  <a:pt x="203" y="516"/>
                </a:lnTo>
                <a:close/>
                <a:moveTo>
                  <a:pt x="384" y="506"/>
                </a:moveTo>
                <a:lnTo>
                  <a:pt x="417" y="564"/>
                </a:lnTo>
                <a:lnTo>
                  <a:pt x="384" y="621"/>
                </a:lnTo>
                <a:lnTo>
                  <a:pt x="316" y="621"/>
                </a:lnTo>
                <a:lnTo>
                  <a:pt x="283" y="564"/>
                </a:lnTo>
                <a:lnTo>
                  <a:pt x="316" y="506"/>
                </a:lnTo>
                <a:lnTo>
                  <a:pt x="384" y="506"/>
                </a:lnTo>
                <a:close/>
                <a:moveTo>
                  <a:pt x="384" y="411"/>
                </a:moveTo>
                <a:lnTo>
                  <a:pt x="316" y="411"/>
                </a:lnTo>
                <a:lnTo>
                  <a:pt x="283" y="353"/>
                </a:lnTo>
                <a:lnTo>
                  <a:pt x="316" y="295"/>
                </a:lnTo>
                <a:lnTo>
                  <a:pt x="384" y="295"/>
                </a:lnTo>
                <a:lnTo>
                  <a:pt x="417" y="353"/>
                </a:lnTo>
                <a:lnTo>
                  <a:pt x="384" y="411"/>
                </a:lnTo>
                <a:close/>
                <a:moveTo>
                  <a:pt x="567" y="516"/>
                </a:moveTo>
                <a:lnTo>
                  <a:pt x="500" y="516"/>
                </a:lnTo>
                <a:lnTo>
                  <a:pt x="467" y="458"/>
                </a:lnTo>
                <a:lnTo>
                  <a:pt x="500" y="401"/>
                </a:lnTo>
                <a:lnTo>
                  <a:pt x="567" y="401"/>
                </a:lnTo>
                <a:lnTo>
                  <a:pt x="600" y="458"/>
                </a:lnTo>
                <a:lnTo>
                  <a:pt x="567" y="5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42" name="Google Shape;8294;p243">
            <a:extLst>
              <a:ext uri="{FF2B5EF4-FFF2-40B4-BE49-F238E27FC236}">
                <a16:creationId xmlns:a16="http://schemas.microsoft.com/office/drawing/2014/main" id="{2C276B77-12C8-4712-9F20-3BCDA15A8739}"/>
              </a:ext>
            </a:extLst>
          </p:cNvPr>
          <p:cNvSpPr/>
          <p:nvPr/>
        </p:nvSpPr>
        <p:spPr>
          <a:xfrm>
            <a:off x="7991318" y="3591902"/>
            <a:ext cx="274320" cy="27432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367" y="181"/>
                </a:moveTo>
                <a:cubicBezTo>
                  <a:pt x="381" y="177"/>
                  <a:pt x="391" y="164"/>
                  <a:pt x="391" y="149"/>
                </a:cubicBezTo>
                <a:cubicBezTo>
                  <a:pt x="391" y="130"/>
                  <a:pt x="376" y="115"/>
                  <a:pt x="358" y="115"/>
                </a:cubicBezTo>
                <a:cubicBezTo>
                  <a:pt x="339" y="115"/>
                  <a:pt x="324" y="130"/>
                  <a:pt x="324" y="149"/>
                </a:cubicBezTo>
                <a:cubicBezTo>
                  <a:pt x="324" y="161"/>
                  <a:pt x="331" y="173"/>
                  <a:pt x="342" y="178"/>
                </a:cubicBezTo>
                <a:cubicBezTo>
                  <a:pt x="342" y="243"/>
                  <a:pt x="342" y="243"/>
                  <a:pt x="342" y="243"/>
                </a:cubicBezTo>
                <a:cubicBezTo>
                  <a:pt x="385" y="274"/>
                  <a:pt x="385" y="274"/>
                  <a:pt x="385" y="274"/>
                </a:cubicBezTo>
                <a:cubicBezTo>
                  <a:pt x="385" y="319"/>
                  <a:pt x="385" y="319"/>
                  <a:pt x="385" y="319"/>
                </a:cubicBezTo>
                <a:cubicBezTo>
                  <a:pt x="341" y="340"/>
                  <a:pt x="341" y="340"/>
                  <a:pt x="341" y="340"/>
                </a:cubicBezTo>
                <a:cubicBezTo>
                  <a:pt x="341" y="398"/>
                  <a:pt x="341" y="398"/>
                  <a:pt x="341" y="398"/>
                </a:cubicBezTo>
                <a:cubicBezTo>
                  <a:pt x="330" y="404"/>
                  <a:pt x="324" y="414"/>
                  <a:pt x="324" y="427"/>
                </a:cubicBezTo>
                <a:cubicBezTo>
                  <a:pt x="324" y="446"/>
                  <a:pt x="339" y="461"/>
                  <a:pt x="357" y="461"/>
                </a:cubicBezTo>
                <a:cubicBezTo>
                  <a:pt x="376" y="461"/>
                  <a:pt x="391" y="446"/>
                  <a:pt x="391" y="427"/>
                </a:cubicBezTo>
                <a:cubicBezTo>
                  <a:pt x="391" y="411"/>
                  <a:pt x="380" y="398"/>
                  <a:pt x="366" y="394"/>
                </a:cubicBezTo>
                <a:cubicBezTo>
                  <a:pt x="366" y="356"/>
                  <a:pt x="366" y="356"/>
                  <a:pt x="366" y="356"/>
                </a:cubicBezTo>
                <a:cubicBezTo>
                  <a:pt x="410" y="335"/>
                  <a:pt x="410" y="335"/>
                  <a:pt x="410" y="335"/>
                </a:cubicBezTo>
                <a:cubicBezTo>
                  <a:pt x="410" y="261"/>
                  <a:pt x="410" y="261"/>
                  <a:pt x="410" y="261"/>
                </a:cubicBezTo>
                <a:cubicBezTo>
                  <a:pt x="367" y="230"/>
                  <a:pt x="367" y="230"/>
                  <a:pt x="367" y="230"/>
                </a:cubicBezTo>
                <a:lnTo>
                  <a:pt x="367" y="181"/>
                </a:lnTo>
                <a:close/>
                <a:moveTo>
                  <a:pt x="357" y="439"/>
                </a:moveTo>
                <a:cubicBezTo>
                  <a:pt x="351" y="439"/>
                  <a:pt x="346" y="433"/>
                  <a:pt x="346" y="427"/>
                </a:cubicBezTo>
                <a:cubicBezTo>
                  <a:pt x="346" y="421"/>
                  <a:pt x="351" y="415"/>
                  <a:pt x="357" y="415"/>
                </a:cubicBezTo>
                <a:cubicBezTo>
                  <a:pt x="364" y="415"/>
                  <a:pt x="369" y="421"/>
                  <a:pt x="369" y="427"/>
                </a:cubicBezTo>
                <a:cubicBezTo>
                  <a:pt x="369" y="433"/>
                  <a:pt x="364" y="439"/>
                  <a:pt x="357" y="439"/>
                </a:cubicBezTo>
                <a:close/>
                <a:moveTo>
                  <a:pt x="358" y="137"/>
                </a:moveTo>
                <a:cubicBezTo>
                  <a:pt x="364" y="137"/>
                  <a:pt x="369" y="142"/>
                  <a:pt x="369" y="149"/>
                </a:cubicBezTo>
                <a:cubicBezTo>
                  <a:pt x="369" y="155"/>
                  <a:pt x="364" y="160"/>
                  <a:pt x="358" y="160"/>
                </a:cubicBezTo>
                <a:cubicBezTo>
                  <a:pt x="351" y="160"/>
                  <a:pt x="346" y="155"/>
                  <a:pt x="346" y="149"/>
                </a:cubicBezTo>
                <a:cubicBezTo>
                  <a:pt x="346" y="142"/>
                  <a:pt x="351" y="137"/>
                  <a:pt x="358" y="137"/>
                </a:cubicBezTo>
                <a:close/>
                <a:moveTo>
                  <a:pt x="464" y="186"/>
                </a:moveTo>
                <a:cubicBezTo>
                  <a:pt x="464" y="120"/>
                  <a:pt x="464" y="120"/>
                  <a:pt x="464" y="120"/>
                </a:cubicBezTo>
                <a:cubicBezTo>
                  <a:pt x="339" y="50"/>
                  <a:pt x="339" y="50"/>
                  <a:pt x="339" y="50"/>
                </a:cubicBezTo>
                <a:cubicBezTo>
                  <a:pt x="289" y="82"/>
                  <a:pt x="289" y="82"/>
                  <a:pt x="289" y="82"/>
                </a:cubicBezTo>
                <a:cubicBezTo>
                  <a:pt x="238" y="50"/>
                  <a:pt x="238" y="50"/>
                  <a:pt x="238" y="50"/>
                </a:cubicBezTo>
                <a:cubicBezTo>
                  <a:pt x="113" y="120"/>
                  <a:pt x="113" y="120"/>
                  <a:pt x="113" y="120"/>
                </a:cubicBezTo>
                <a:cubicBezTo>
                  <a:pt x="113" y="186"/>
                  <a:pt x="113" y="186"/>
                  <a:pt x="113" y="186"/>
                </a:cubicBezTo>
                <a:cubicBezTo>
                  <a:pt x="54" y="223"/>
                  <a:pt x="54" y="223"/>
                  <a:pt x="54" y="223"/>
                </a:cubicBezTo>
                <a:cubicBezTo>
                  <a:pt x="54" y="363"/>
                  <a:pt x="54" y="363"/>
                  <a:pt x="54" y="363"/>
                </a:cubicBezTo>
                <a:cubicBezTo>
                  <a:pt x="115" y="400"/>
                  <a:pt x="115" y="400"/>
                  <a:pt x="115" y="400"/>
                </a:cubicBezTo>
                <a:cubicBezTo>
                  <a:pt x="115" y="455"/>
                  <a:pt x="115" y="455"/>
                  <a:pt x="115" y="455"/>
                </a:cubicBezTo>
                <a:cubicBezTo>
                  <a:pt x="235" y="524"/>
                  <a:pt x="235" y="524"/>
                  <a:pt x="235" y="524"/>
                </a:cubicBezTo>
                <a:cubicBezTo>
                  <a:pt x="289" y="495"/>
                  <a:pt x="289" y="495"/>
                  <a:pt x="289" y="495"/>
                </a:cubicBezTo>
                <a:cubicBezTo>
                  <a:pt x="343" y="524"/>
                  <a:pt x="343" y="524"/>
                  <a:pt x="343" y="524"/>
                </a:cubicBezTo>
                <a:cubicBezTo>
                  <a:pt x="463" y="455"/>
                  <a:pt x="463" y="455"/>
                  <a:pt x="463" y="455"/>
                </a:cubicBezTo>
                <a:cubicBezTo>
                  <a:pt x="463" y="400"/>
                  <a:pt x="463" y="400"/>
                  <a:pt x="463" y="400"/>
                </a:cubicBezTo>
                <a:cubicBezTo>
                  <a:pt x="524" y="363"/>
                  <a:pt x="524" y="363"/>
                  <a:pt x="524" y="363"/>
                </a:cubicBezTo>
                <a:cubicBezTo>
                  <a:pt x="524" y="223"/>
                  <a:pt x="524" y="223"/>
                  <a:pt x="524" y="223"/>
                </a:cubicBezTo>
                <a:lnTo>
                  <a:pt x="464" y="186"/>
                </a:lnTo>
                <a:close/>
                <a:moveTo>
                  <a:pt x="140" y="440"/>
                </a:moveTo>
                <a:cubicBezTo>
                  <a:pt x="140" y="399"/>
                  <a:pt x="140" y="399"/>
                  <a:pt x="140" y="399"/>
                </a:cubicBezTo>
                <a:cubicBezTo>
                  <a:pt x="155" y="392"/>
                  <a:pt x="155" y="392"/>
                  <a:pt x="155" y="392"/>
                </a:cubicBezTo>
                <a:cubicBezTo>
                  <a:pt x="157" y="393"/>
                  <a:pt x="160" y="394"/>
                  <a:pt x="162" y="394"/>
                </a:cubicBezTo>
                <a:cubicBezTo>
                  <a:pt x="173" y="394"/>
                  <a:pt x="181" y="385"/>
                  <a:pt x="181" y="375"/>
                </a:cubicBezTo>
                <a:cubicBezTo>
                  <a:pt x="181" y="365"/>
                  <a:pt x="173" y="356"/>
                  <a:pt x="162" y="356"/>
                </a:cubicBezTo>
                <a:cubicBezTo>
                  <a:pt x="154" y="356"/>
                  <a:pt x="147" y="362"/>
                  <a:pt x="145" y="369"/>
                </a:cubicBezTo>
                <a:cubicBezTo>
                  <a:pt x="126" y="377"/>
                  <a:pt x="126" y="377"/>
                  <a:pt x="126" y="377"/>
                </a:cubicBezTo>
                <a:cubicBezTo>
                  <a:pt x="79" y="348"/>
                  <a:pt x="79" y="348"/>
                  <a:pt x="79" y="348"/>
                </a:cubicBezTo>
                <a:cubicBezTo>
                  <a:pt x="79" y="309"/>
                  <a:pt x="79" y="309"/>
                  <a:pt x="79" y="309"/>
                </a:cubicBezTo>
                <a:cubicBezTo>
                  <a:pt x="91" y="309"/>
                  <a:pt x="91" y="309"/>
                  <a:pt x="91" y="309"/>
                </a:cubicBezTo>
                <a:cubicBezTo>
                  <a:pt x="96" y="321"/>
                  <a:pt x="108" y="330"/>
                  <a:pt x="122" y="330"/>
                </a:cubicBezTo>
                <a:cubicBezTo>
                  <a:pt x="141" y="330"/>
                  <a:pt x="156" y="315"/>
                  <a:pt x="156" y="297"/>
                </a:cubicBezTo>
                <a:cubicBezTo>
                  <a:pt x="156" y="278"/>
                  <a:pt x="141" y="263"/>
                  <a:pt x="122" y="263"/>
                </a:cubicBezTo>
                <a:cubicBezTo>
                  <a:pt x="108" y="263"/>
                  <a:pt x="96" y="271"/>
                  <a:pt x="91" y="283"/>
                </a:cubicBezTo>
                <a:cubicBezTo>
                  <a:pt x="79" y="283"/>
                  <a:pt x="79" y="283"/>
                  <a:pt x="79" y="283"/>
                </a:cubicBezTo>
                <a:cubicBezTo>
                  <a:pt x="79" y="237"/>
                  <a:pt x="79" y="237"/>
                  <a:pt x="79" y="237"/>
                </a:cubicBezTo>
                <a:cubicBezTo>
                  <a:pt x="126" y="208"/>
                  <a:pt x="126" y="208"/>
                  <a:pt x="126" y="208"/>
                </a:cubicBezTo>
                <a:cubicBezTo>
                  <a:pt x="145" y="218"/>
                  <a:pt x="145" y="218"/>
                  <a:pt x="145" y="218"/>
                </a:cubicBezTo>
                <a:cubicBezTo>
                  <a:pt x="147" y="225"/>
                  <a:pt x="154" y="231"/>
                  <a:pt x="162" y="231"/>
                </a:cubicBezTo>
                <a:cubicBezTo>
                  <a:pt x="173" y="231"/>
                  <a:pt x="181" y="223"/>
                  <a:pt x="181" y="212"/>
                </a:cubicBezTo>
                <a:cubicBezTo>
                  <a:pt x="181" y="202"/>
                  <a:pt x="173" y="194"/>
                  <a:pt x="162" y="194"/>
                </a:cubicBezTo>
                <a:cubicBezTo>
                  <a:pt x="160" y="194"/>
                  <a:pt x="158" y="194"/>
                  <a:pt x="156" y="195"/>
                </a:cubicBezTo>
                <a:cubicBezTo>
                  <a:pt x="139" y="185"/>
                  <a:pt x="139" y="185"/>
                  <a:pt x="139" y="185"/>
                </a:cubicBezTo>
                <a:cubicBezTo>
                  <a:pt x="139" y="135"/>
                  <a:pt x="139" y="135"/>
                  <a:pt x="139" y="135"/>
                </a:cubicBezTo>
                <a:cubicBezTo>
                  <a:pt x="237" y="80"/>
                  <a:pt x="237" y="80"/>
                  <a:pt x="237" y="80"/>
                </a:cubicBezTo>
                <a:cubicBezTo>
                  <a:pt x="275" y="102"/>
                  <a:pt x="275" y="102"/>
                  <a:pt x="275" y="102"/>
                </a:cubicBezTo>
                <a:cubicBezTo>
                  <a:pt x="275" y="283"/>
                  <a:pt x="275" y="283"/>
                  <a:pt x="275" y="283"/>
                </a:cubicBezTo>
                <a:cubicBezTo>
                  <a:pt x="262" y="283"/>
                  <a:pt x="262" y="283"/>
                  <a:pt x="262" y="283"/>
                </a:cubicBezTo>
                <a:cubicBezTo>
                  <a:pt x="259" y="280"/>
                  <a:pt x="254" y="277"/>
                  <a:pt x="248" y="277"/>
                </a:cubicBezTo>
                <a:cubicBezTo>
                  <a:pt x="238" y="277"/>
                  <a:pt x="229" y="285"/>
                  <a:pt x="229" y="296"/>
                </a:cubicBezTo>
                <a:cubicBezTo>
                  <a:pt x="229" y="306"/>
                  <a:pt x="238" y="315"/>
                  <a:pt x="248" y="315"/>
                </a:cubicBezTo>
                <a:cubicBezTo>
                  <a:pt x="253" y="315"/>
                  <a:pt x="258" y="312"/>
                  <a:pt x="262" y="309"/>
                </a:cubicBezTo>
                <a:cubicBezTo>
                  <a:pt x="275" y="309"/>
                  <a:pt x="275" y="309"/>
                  <a:pt x="275" y="309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35" y="495"/>
                  <a:pt x="235" y="495"/>
                  <a:pt x="235" y="495"/>
                </a:cubicBezTo>
                <a:lnTo>
                  <a:pt x="140" y="440"/>
                </a:lnTo>
                <a:close/>
                <a:moveTo>
                  <a:pt x="111" y="297"/>
                </a:moveTo>
                <a:cubicBezTo>
                  <a:pt x="111" y="290"/>
                  <a:pt x="116" y="285"/>
                  <a:pt x="122" y="285"/>
                </a:cubicBezTo>
                <a:cubicBezTo>
                  <a:pt x="129" y="285"/>
                  <a:pt x="134" y="290"/>
                  <a:pt x="134" y="297"/>
                </a:cubicBezTo>
                <a:cubicBezTo>
                  <a:pt x="134" y="303"/>
                  <a:pt x="129" y="308"/>
                  <a:pt x="122" y="308"/>
                </a:cubicBezTo>
                <a:cubicBezTo>
                  <a:pt x="116" y="308"/>
                  <a:pt x="111" y="303"/>
                  <a:pt x="111" y="297"/>
                </a:cubicBezTo>
                <a:close/>
                <a:moveTo>
                  <a:pt x="451" y="377"/>
                </a:moveTo>
                <a:cubicBezTo>
                  <a:pt x="433" y="369"/>
                  <a:pt x="433" y="369"/>
                  <a:pt x="433" y="369"/>
                </a:cubicBezTo>
                <a:cubicBezTo>
                  <a:pt x="430" y="362"/>
                  <a:pt x="423" y="356"/>
                  <a:pt x="415" y="356"/>
                </a:cubicBezTo>
                <a:cubicBezTo>
                  <a:pt x="405" y="356"/>
                  <a:pt x="396" y="365"/>
                  <a:pt x="396" y="375"/>
                </a:cubicBezTo>
                <a:cubicBezTo>
                  <a:pt x="396" y="385"/>
                  <a:pt x="405" y="394"/>
                  <a:pt x="415" y="394"/>
                </a:cubicBezTo>
                <a:cubicBezTo>
                  <a:pt x="418" y="394"/>
                  <a:pt x="420" y="393"/>
                  <a:pt x="422" y="392"/>
                </a:cubicBezTo>
                <a:cubicBezTo>
                  <a:pt x="437" y="399"/>
                  <a:pt x="437" y="399"/>
                  <a:pt x="437" y="399"/>
                </a:cubicBezTo>
                <a:cubicBezTo>
                  <a:pt x="437" y="440"/>
                  <a:pt x="437" y="440"/>
                  <a:pt x="437" y="440"/>
                </a:cubicBezTo>
                <a:cubicBezTo>
                  <a:pt x="342" y="495"/>
                  <a:pt x="342" y="495"/>
                  <a:pt x="342" y="495"/>
                </a:cubicBezTo>
                <a:cubicBezTo>
                  <a:pt x="300" y="472"/>
                  <a:pt x="300" y="472"/>
                  <a:pt x="300" y="472"/>
                </a:cubicBezTo>
                <a:cubicBezTo>
                  <a:pt x="300" y="309"/>
                  <a:pt x="300" y="309"/>
                  <a:pt x="300" y="309"/>
                </a:cubicBezTo>
                <a:cubicBezTo>
                  <a:pt x="317" y="309"/>
                  <a:pt x="317" y="309"/>
                  <a:pt x="317" y="309"/>
                </a:cubicBezTo>
                <a:cubicBezTo>
                  <a:pt x="320" y="312"/>
                  <a:pt x="325" y="315"/>
                  <a:pt x="330" y="315"/>
                </a:cubicBezTo>
                <a:cubicBezTo>
                  <a:pt x="341" y="315"/>
                  <a:pt x="349" y="306"/>
                  <a:pt x="349" y="296"/>
                </a:cubicBezTo>
                <a:cubicBezTo>
                  <a:pt x="349" y="285"/>
                  <a:pt x="341" y="277"/>
                  <a:pt x="330" y="277"/>
                </a:cubicBezTo>
                <a:cubicBezTo>
                  <a:pt x="325" y="277"/>
                  <a:pt x="320" y="280"/>
                  <a:pt x="316" y="283"/>
                </a:cubicBezTo>
                <a:cubicBezTo>
                  <a:pt x="300" y="283"/>
                  <a:pt x="300" y="283"/>
                  <a:pt x="300" y="283"/>
                </a:cubicBezTo>
                <a:cubicBezTo>
                  <a:pt x="300" y="104"/>
                  <a:pt x="300" y="104"/>
                  <a:pt x="300" y="104"/>
                </a:cubicBezTo>
                <a:cubicBezTo>
                  <a:pt x="340" y="80"/>
                  <a:pt x="340" y="80"/>
                  <a:pt x="340" y="80"/>
                </a:cubicBezTo>
                <a:cubicBezTo>
                  <a:pt x="439" y="135"/>
                  <a:pt x="439" y="135"/>
                  <a:pt x="439" y="135"/>
                </a:cubicBezTo>
                <a:cubicBezTo>
                  <a:pt x="439" y="185"/>
                  <a:pt x="439" y="185"/>
                  <a:pt x="439" y="185"/>
                </a:cubicBezTo>
                <a:cubicBezTo>
                  <a:pt x="422" y="195"/>
                  <a:pt x="422" y="195"/>
                  <a:pt x="422" y="195"/>
                </a:cubicBezTo>
                <a:cubicBezTo>
                  <a:pt x="420" y="194"/>
                  <a:pt x="418" y="194"/>
                  <a:pt x="415" y="194"/>
                </a:cubicBezTo>
                <a:cubicBezTo>
                  <a:pt x="405" y="194"/>
                  <a:pt x="396" y="202"/>
                  <a:pt x="396" y="212"/>
                </a:cubicBezTo>
                <a:cubicBezTo>
                  <a:pt x="396" y="223"/>
                  <a:pt x="405" y="231"/>
                  <a:pt x="415" y="231"/>
                </a:cubicBezTo>
                <a:cubicBezTo>
                  <a:pt x="424" y="231"/>
                  <a:pt x="431" y="225"/>
                  <a:pt x="433" y="218"/>
                </a:cubicBezTo>
                <a:cubicBezTo>
                  <a:pt x="451" y="208"/>
                  <a:pt x="451" y="208"/>
                  <a:pt x="451" y="208"/>
                </a:cubicBezTo>
                <a:cubicBezTo>
                  <a:pt x="498" y="237"/>
                  <a:pt x="498" y="237"/>
                  <a:pt x="498" y="237"/>
                </a:cubicBezTo>
                <a:cubicBezTo>
                  <a:pt x="498" y="283"/>
                  <a:pt x="498" y="283"/>
                  <a:pt x="498" y="283"/>
                </a:cubicBezTo>
                <a:cubicBezTo>
                  <a:pt x="489" y="283"/>
                  <a:pt x="489" y="283"/>
                  <a:pt x="489" y="283"/>
                </a:cubicBezTo>
                <a:cubicBezTo>
                  <a:pt x="484" y="271"/>
                  <a:pt x="472" y="263"/>
                  <a:pt x="458" y="263"/>
                </a:cubicBezTo>
                <a:cubicBezTo>
                  <a:pt x="439" y="263"/>
                  <a:pt x="424" y="278"/>
                  <a:pt x="424" y="297"/>
                </a:cubicBezTo>
                <a:cubicBezTo>
                  <a:pt x="424" y="315"/>
                  <a:pt x="439" y="330"/>
                  <a:pt x="458" y="330"/>
                </a:cubicBezTo>
                <a:cubicBezTo>
                  <a:pt x="472" y="330"/>
                  <a:pt x="485" y="321"/>
                  <a:pt x="489" y="309"/>
                </a:cubicBezTo>
                <a:cubicBezTo>
                  <a:pt x="498" y="309"/>
                  <a:pt x="498" y="309"/>
                  <a:pt x="498" y="309"/>
                </a:cubicBezTo>
                <a:cubicBezTo>
                  <a:pt x="498" y="348"/>
                  <a:pt x="498" y="348"/>
                  <a:pt x="498" y="348"/>
                </a:cubicBezTo>
                <a:lnTo>
                  <a:pt x="451" y="377"/>
                </a:lnTo>
                <a:close/>
                <a:moveTo>
                  <a:pt x="470" y="297"/>
                </a:moveTo>
                <a:cubicBezTo>
                  <a:pt x="470" y="303"/>
                  <a:pt x="464" y="308"/>
                  <a:pt x="458" y="308"/>
                </a:cubicBezTo>
                <a:cubicBezTo>
                  <a:pt x="452" y="308"/>
                  <a:pt x="446" y="303"/>
                  <a:pt x="446" y="297"/>
                </a:cubicBezTo>
                <a:cubicBezTo>
                  <a:pt x="446" y="290"/>
                  <a:pt x="452" y="285"/>
                  <a:pt x="458" y="285"/>
                </a:cubicBezTo>
                <a:cubicBezTo>
                  <a:pt x="464" y="285"/>
                  <a:pt x="470" y="290"/>
                  <a:pt x="470" y="297"/>
                </a:cubicBezTo>
                <a:close/>
                <a:moveTo>
                  <a:pt x="237" y="398"/>
                </a:moveTo>
                <a:cubicBezTo>
                  <a:pt x="237" y="340"/>
                  <a:pt x="237" y="340"/>
                  <a:pt x="237" y="340"/>
                </a:cubicBezTo>
                <a:cubicBezTo>
                  <a:pt x="192" y="319"/>
                  <a:pt x="192" y="319"/>
                  <a:pt x="192" y="319"/>
                </a:cubicBezTo>
                <a:cubicBezTo>
                  <a:pt x="192" y="274"/>
                  <a:pt x="192" y="274"/>
                  <a:pt x="192" y="274"/>
                </a:cubicBezTo>
                <a:cubicBezTo>
                  <a:pt x="236" y="243"/>
                  <a:pt x="236" y="243"/>
                  <a:pt x="236" y="243"/>
                </a:cubicBezTo>
                <a:cubicBezTo>
                  <a:pt x="236" y="178"/>
                  <a:pt x="236" y="178"/>
                  <a:pt x="236" y="178"/>
                </a:cubicBezTo>
                <a:cubicBezTo>
                  <a:pt x="247" y="173"/>
                  <a:pt x="254" y="161"/>
                  <a:pt x="254" y="148"/>
                </a:cubicBezTo>
                <a:cubicBezTo>
                  <a:pt x="254" y="129"/>
                  <a:pt x="239" y="114"/>
                  <a:pt x="221" y="114"/>
                </a:cubicBezTo>
                <a:cubicBezTo>
                  <a:pt x="202" y="114"/>
                  <a:pt x="187" y="129"/>
                  <a:pt x="187" y="148"/>
                </a:cubicBezTo>
                <a:cubicBezTo>
                  <a:pt x="187" y="163"/>
                  <a:pt x="197" y="176"/>
                  <a:pt x="211" y="180"/>
                </a:cubicBezTo>
                <a:cubicBezTo>
                  <a:pt x="210" y="181"/>
                  <a:pt x="210" y="181"/>
                  <a:pt x="210" y="181"/>
                </a:cubicBezTo>
                <a:cubicBezTo>
                  <a:pt x="210" y="230"/>
                  <a:pt x="210" y="230"/>
                  <a:pt x="210" y="230"/>
                </a:cubicBezTo>
                <a:cubicBezTo>
                  <a:pt x="167" y="261"/>
                  <a:pt x="167" y="261"/>
                  <a:pt x="167" y="261"/>
                </a:cubicBezTo>
                <a:cubicBezTo>
                  <a:pt x="167" y="335"/>
                  <a:pt x="167" y="335"/>
                  <a:pt x="167" y="335"/>
                </a:cubicBezTo>
                <a:cubicBezTo>
                  <a:pt x="212" y="356"/>
                  <a:pt x="212" y="356"/>
                  <a:pt x="212" y="356"/>
                </a:cubicBezTo>
                <a:cubicBezTo>
                  <a:pt x="212" y="396"/>
                  <a:pt x="212" y="396"/>
                  <a:pt x="212" y="396"/>
                </a:cubicBezTo>
                <a:cubicBezTo>
                  <a:pt x="198" y="400"/>
                  <a:pt x="187" y="413"/>
                  <a:pt x="187" y="428"/>
                </a:cubicBezTo>
                <a:cubicBezTo>
                  <a:pt x="187" y="447"/>
                  <a:pt x="202" y="462"/>
                  <a:pt x="221" y="462"/>
                </a:cubicBezTo>
                <a:cubicBezTo>
                  <a:pt x="240" y="462"/>
                  <a:pt x="255" y="447"/>
                  <a:pt x="255" y="428"/>
                </a:cubicBezTo>
                <a:cubicBezTo>
                  <a:pt x="255" y="415"/>
                  <a:pt x="248" y="404"/>
                  <a:pt x="237" y="398"/>
                </a:cubicBezTo>
                <a:close/>
                <a:moveTo>
                  <a:pt x="221" y="136"/>
                </a:moveTo>
                <a:cubicBezTo>
                  <a:pt x="227" y="136"/>
                  <a:pt x="232" y="142"/>
                  <a:pt x="232" y="148"/>
                </a:cubicBezTo>
                <a:cubicBezTo>
                  <a:pt x="232" y="154"/>
                  <a:pt x="227" y="160"/>
                  <a:pt x="221" y="160"/>
                </a:cubicBezTo>
                <a:cubicBezTo>
                  <a:pt x="214" y="160"/>
                  <a:pt x="209" y="154"/>
                  <a:pt x="209" y="148"/>
                </a:cubicBezTo>
                <a:cubicBezTo>
                  <a:pt x="209" y="142"/>
                  <a:pt x="214" y="136"/>
                  <a:pt x="221" y="136"/>
                </a:cubicBezTo>
                <a:close/>
                <a:moveTo>
                  <a:pt x="221" y="440"/>
                </a:moveTo>
                <a:cubicBezTo>
                  <a:pt x="215" y="440"/>
                  <a:pt x="209" y="434"/>
                  <a:pt x="209" y="428"/>
                </a:cubicBezTo>
                <a:cubicBezTo>
                  <a:pt x="209" y="422"/>
                  <a:pt x="215" y="416"/>
                  <a:pt x="221" y="416"/>
                </a:cubicBezTo>
                <a:cubicBezTo>
                  <a:pt x="227" y="416"/>
                  <a:pt x="233" y="422"/>
                  <a:pt x="233" y="428"/>
                </a:cubicBezTo>
                <a:cubicBezTo>
                  <a:pt x="233" y="434"/>
                  <a:pt x="227" y="440"/>
                  <a:pt x="221" y="4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43" name="Google Shape;8295;p243">
            <a:extLst>
              <a:ext uri="{FF2B5EF4-FFF2-40B4-BE49-F238E27FC236}">
                <a16:creationId xmlns:a16="http://schemas.microsoft.com/office/drawing/2014/main" id="{C41F0BC7-3B35-49B2-A738-4B80583E0095}"/>
              </a:ext>
            </a:extLst>
          </p:cNvPr>
          <p:cNvSpPr txBox="1"/>
          <p:nvPr/>
        </p:nvSpPr>
        <p:spPr>
          <a:xfrm>
            <a:off x="7484987" y="2760710"/>
            <a:ext cx="915722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latin typeface="Georgia" panose="02040502050405020303" pitchFamily="18" charset="0"/>
              </a:rPr>
              <a:t>Reputational Loss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44" name="Google Shape;8296;p243">
            <a:extLst>
              <a:ext uri="{FF2B5EF4-FFF2-40B4-BE49-F238E27FC236}">
                <a16:creationId xmlns:a16="http://schemas.microsoft.com/office/drawing/2014/main" id="{823CBBA3-3A2E-433C-818C-C217A8249AAA}"/>
              </a:ext>
            </a:extLst>
          </p:cNvPr>
          <p:cNvSpPr txBox="1"/>
          <p:nvPr/>
        </p:nvSpPr>
        <p:spPr>
          <a:xfrm>
            <a:off x="8685921" y="2255750"/>
            <a:ext cx="136068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sz="1100" dirty="0">
                <a:latin typeface="Georgia" panose="02040502050405020303" pitchFamily="18" charset="0"/>
              </a:rPr>
              <a:t>Loss of Business/Valuation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45" name="Google Shape;8297;p243">
            <a:extLst>
              <a:ext uri="{FF2B5EF4-FFF2-40B4-BE49-F238E27FC236}">
                <a16:creationId xmlns:a16="http://schemas.microsoft.com/office/drawing/2014/main" id="{5F6DBDA0-614C-411B-A37F-AE34E161AE70}"/>
              </a:ext>
            </a:extLst>
          </p:cNvPr>
          <p:cNvSpPr txBox="1"/>
          <p:nvPr/>
        </p:nvSpPr>
        <p:spPr>
          <a:xfrm>
            <a:off x="10330725" y="2690177"/>
            <a:ext cx="1660963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latin typeface="Georgia" panose="02040502050405020303" pitchFamily="18" charset="0"/>
              </a:rPr>
              <a:t>Regulatory/Legal Non-compliance (IPR, ABAC, tax)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46" name="Google Shape;8298;p243">
            <a:extLst>
              <a:ext uri="{FF2B5EF4-FFF2-40B4-BE49-F238E27FC236}">
                <a16:creationId xmlns:a16="http://schemas.microsoft.com/office/drawing/2014/main" id="{2A42B80D-2B3D-49A9-93E3-24325F71D367}"/>
              </a:ext>
            </a:extLst>
          </p:cNvPr>
          <p:cNvSpPr txBox="1"/>
          <p:nvPr/>
        </p:nvSpPr>
        <p:spPr>
          <a:xfrm>
            <a:off x="10658022" y="3555478"/>
            <a:ext cx="12171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latin typeface="Georgia" panose="02040502050405020303" pitchFamily="18" charset="0"/>
              </a:rPr>
              <a:t>Financial Loss / Insolvency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47" name="Google Shape;8299;p243">
            <a:extLst>
              <a:ext uri="{FF2B5EF4-FFF2-40B4-BE49-F238E27FC236}">
                <a16:creationId xmlns:a16="http://schemas.microsoft.com/office/drawing/2014/main" id="{CFEE19E6-CD73-4E25-AD95-BE1830550E54}"/>
              </a:ext>
            </a:extLst>
          </p:cNvPr>
          <p:cNvSpPr txBox="1"/>
          <p:nvPr/>
        </p:nvSpPr>
        <p:spPr>
          <a:xfrm>
            <a:off x="10795607" y="4185442"/>
            <a:ext cx="1328121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latin typeface="Georgia" panose="02040502050405020303" pitchFamily="18" charset="0"/>
              </a:rPr>
              <a:t>Fraud and misconduct / Related Party Risks /Conflict of Interest</a:t>
            </a:r>
          </a:p>
        </p:txBody>
      </p:sp>
      <p:sp>
        <p:nvSpPr>
          <p:cNvPr id="148" name="Google Shape;8300;p243">
            <a:extLst>
              <a:ext uri="{FF2B5EF4-FFF2-40B4-BE49-F238E27FC236}">
                <a16:creationId xmlns:a16="http://schemas.microsoft.com/office/drawing/2014/main" id="{B1622808-072C-4128-B85B-D0AD9347D32F}"/>
              </a:ext>
            </a:extLst>
          </p:cNvPr>
          <p:cNvSpPr txBox="1"/>
          <p:nvPr/>
        </p:nvSpPr>
        <p:spPr>
          <a:xfrm>
            <a:off x="10396334" y="5301037"/>
            <a:ext cx="105665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latin typeface="Georgia" panose="02040502050405020303" pitchFamily="18" charset="0"/>
              </a:rPr>
              <a:t>Loss of trust of key stakeholders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49" name="Google Shape;8301;p243">
            <a:extLst>
              <a:ext uri="{FF2B5EF4-FFF2-40B4-BE49-F238E27FC236}">
                <a16:creationId xmlns:a16="http://schemas.microsoft.com/office/drawing/2014/main" id="{1C446E4E-A5F6-4173-8D40-5DD00242173E}"/>
              </a:ext>
            </a:extLst>
          </p:cNvPr>
          <p:cNvSpPr txBox="1"/>
          <p:nvPr/>
        </p:nvSpPr>
        <p:spPr>
          <a:xfrm>
            <a:off x="8957981" y="5701926"/>
            <a:ext cx="8178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latin typeface="Georgia" panose="02040502050405020303" pitchFamily="18" charset="0"/>
              </a:rPr>
              <a:t>Loss to competition</a:t>
            </a:r>
            <a:endParaRPr sz="1100" dirty="0">
              <a:latin typeface="Georgia" panose="02040502050405020303" pitchFamily="18" charset="0"/>
            </a:endParaRPr>
          </a:p>
        </p:txBody>
      </p:sp>
      <p:sp>
        <p:nvSpPr>
          <p:cNvPr id="150" name="Google Shape;8302;p243">
            <a:extLst>
              <a:ext uri="{FF2B5EF4-FFF2-40B4-BE49-F238E27FC236}">
                <a16:creationId xmlns:a16="http://schemas.microsoft.com/office/drawing/2014/main" id="{B9B01ED7-C054-4419-B557-73FEE7B37E99}"/>
              </a:ext>
            </a:extLst>
          </p:cNvPr>
          <p:cNvSpPr txBox="1"/>
          <p:nvPr/>
        </p:nvSpPr>
        <p:spPr>
          <a:xfrm>
            <a:off x="7903781" y="5504979"/>
            <a:ext cx="6330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Internal conflicts</a:t>
            </a:r>
            <a:endParaRPr sz="11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1" name="Google Shape;8303;p243">
            <a:extLst>
              <a:ext uri="{FF2B5EF4-FFF2-40B4-BE49-F238E27FC236}">
                <a16:creationId xmlns:a16="http://schemas.microsoft.com/office/drawing/2014/main" id="{3D42D98B-9C69-4B18-AD9E-713DDFF0A5DC}"/>
              </a:ext>
            </a:extLst>
          </p:cNvPr>
          <p:cNvSpPr txBox="1"/>
          <p:nvPr/>
        </p:nvSpPr>
        <p:spPr>
          <a:xfrm>
            <a:off x="6796612" y="4520471"/>
            <a:ext cx="1256168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Loss of employees/business partners</a:t>
            </a:r>
            <a:endParaRPr sz="11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2" name="Google Shape;8304;p243">
            <a:extLst>
              <a:ext uri="{FF2B5EF4-FFF2-40B4-BE49-F238E27FC236}">
                <a16:creationId xmlns:a16="http://schemas.microsoft.com/office/drawing/2014/main" id="{227C57A1-4DB0-4270-8E7D-717B030301E9}"/>
              </a:ext>
            </a:extLst>
          </p:cNvPr>
          <p:cNvSpPr txBox="1"/>
          <p:nvPr/>
        </p:nvSpPr>
        <p:spPr>
          <a:xfrm>
            <a:off x="7017087" y="3514216"/>
            <a:ext cx="84855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Georgia" panose="02040502050405020303" pitchFamily="18" charset="0"/>
              </a:rPr>
              <a:t>Toxic work culture</a:t>
            </a:r>
            <a:endParaRPr sz="11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153" name="Google Shape;8305;p243">
            <a:extLst>
              <a:ext uri="{FF2B5EF4-FFF2-40B4-BE49-F238E27FC236}">
                <a16:creationId xmlns:a16="http://schemas.microsoft.com/office/drawing/2014/main" id="{D933DD1A-4B55-494B-B074-90ACE755A034}"/>
              </a:ext>
            </a:extLst>
          </p:cNvPr>
          <p:cNvSpPr/>
          <p:nvPr/>
        </p:nvSpPr>
        <p:spPr>
          <a:xfrm>
            <a:off x="9187420" y="3652193"/>
            <a:ext cx="275450" cy="276235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dirty="0">
              <a:solidFill>
                <a:srgbClr val="D04A02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154" name="Google Shape;8306;p243">
            <a:extLst>
              <a:ext uri="{FF2B5EF4-FFF2-40B4-BE49-F238E27FC236}">
                <a16:creationId xmlns:a16="http://schemas.microsoft.com/office/drawing/2014/main" id="{0FB4C8D1-6884-4A40-91E9-FE574CDB2D32}"/>
              </a:ext>
            </a:extLst>
          </p:cNvPr>
          <p:cNvSpPr txBox="1"/>
          <p:nvPr/>
        </p:nvSpPr>
        <p:spPr>
          <a:xfrm>
            <a:off x="8882596" y="4042178"/>
            <a:ext cx="96703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chemeClr val="lt1"/>
                </a:solidFill>
                <a:latin typeface="Georgia" panose="02040502050405020303" pitchFamily="18" charset="0"/>
              </a:rPr>
              <a:t>Governance Risks</a:t>
            </a:r>
            <a:endParaRPr sz="1200" b="1" dirty="0">
              <a:solidFill>
                <a:schemeClr val="lt1"/>
              </a:solidFill>
              <a:latin typeface="Georgia" panose="02040502050405020303" pitchFamily="18" charset="0"/>
            </a:endParaRPr>
          </a:p>
        </p:txBody>
      </p:sp>
      <p:sp>
        <p:nvSpPr>
          <p:cNvPr id="159" name="Google Shape;8276;p430">
            <a:extLst>
              <a:ext uri="{FF2B5EF4-FFF2-40B4-BE49-F238E27FC236}">
                <a16:creationId xmlns:a16="http://schemas.microsoft.com/office/drawing/2014/main" id="{797AAECE-BCEF-4D50-8447-8CE68AA519DA}"/>
              </a:ext>
            </a:extLst>
          </p:cNvPr>
          <p:cNvSpPr/>
          <p:nvPr/>
        </p:nvSpPr>
        <p:spPr>
          <a:xfrm>
            <a:off x="523663" y="1980500"/>
            <a:ext cx="5040000" cy="628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cxnSp>
        <p:nvCxnSpPr>
          <p:cNvPr id="161" name="Google Shape;8278;p430">
            <a:extLst>
              <a:ext uri="{FF2B5EF4-FFF2-40B4-BE49-F238E27FC236}">
                <a16:creationId xmlns:a16="http://schemas.microsoft.com/office/drawing/2014/main" id="{72AC58F6-6CB0-4AF5-9CAC-C407E6A7499D}"/>
              </a:ext>
            </a:extLst>
          </p:cNvPr>
          <p:cNvCxnSpPr>
            <a:cxnSpLocks/>
          </p:cNvCxnSpPr>
          <p:nvPr/>
        </p:nvCxnSpPr>
        <p:spPr>
          <a:xfrm rot="10800000">
            <a:off x="969793" y="1577500"/>
            <a:ext cx="0" cy="316000"/>
          </a:xfrm>
          <a:prstGeom prst="straightConnector1">
            <a:avLst/>
          </a:prstGeom>
          <a:noFill/>
          <a:ln w="9525" cap="flat" cmpd="sng">
            <a:solidFill>
              <a:srgbClr val="E0301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2" name="Google Shape;8279;p430">
            <a:extLst>
              <a:ext uri="{FF2B5EF4-FFF2-40B4-BE49-F238E27FC236}">
                <a16:creationId xmlns:a16="http://schemas.microsoft.com/office/drawing/2014/main" id="{1E8E5B80-CB68-4363-B30D-D453B830EA5E}"/>
              </a:ext>
            </a:extLst>
          </p:cNvPr>
          <p:cNvSpPr/>
          <p:nvPr/>
        </p:nvSpPr>
        <p:spPr>
          <a:xfrm>
            <a:off x="5054195" y="1893500"/>
            <a:ext cx="297200" cy="236800"/>
          </a:xfrm>
          <a:prstGeom prst="rect">
            <a:avLst/>
          </a:prstGeom>
          <a:solidFill>
            <a:srgbClr val="E0301E"/>
          </a:solidFill>
          <a:ln w="9525" cap="flat" cmpd="sng">
            <a:solidFill>
              <a:srgbClr val="E0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cxnSp>
        <p:nvCxnSpPr>
          <p:cNvPr id="163" name="Google Shape;8280;p430">
            <a:extLst>
              <a:ext uri="{FF2B5EF4-FFF2-40B4-BE49-F238E27FC236}">
                <a16:creationId xmlns:a16="http://schemas.microsoft.com/office/drawing/2014/main" id="{4921678E-3A33-46BE-9ACD-9AC76EE9F808}"/>
              </a:ext>
            </a:extLst>
          </p:cNvPr>
          <p:cNvCxnSpPr>
            <a:stCxn id="162" idx="0"/>
          </p:cNvCxnSpPr>
          <p:nvPr/>
        </p:nvCxnSpPr>
        <p:spPr>
          <a:xfrm rot="10800000">
            <a:off x="5202795" y="1577500"/>
            <a:ext cx="0" cy="316000"/>
          </a:xfrm>
          <a:prstGeom prst="straightConnector1">
            <a:avLst/>
          </a:prstGeom>
          <a:noFill/>
          <a:ln w="9525" cap="flat" cmpd="sng">
            <a:solidFill>
              <a:srgbClr val="E0301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4" name="Google Shape;8327;p430">
            <a:extLst>
              <a:ext uri="{FF2B5EF4-FFF2-40B4-BE49-F238E27FC236}">
                <a16:creationId xmlns:a16="http://schemas.microsoft.com/office/drawing/2014/main" id="{93440739-5B58-4DD2-AB21-9B86096BE0EC}"/>
              </a:ext>
            </a:extLst>
          </p:cNvPr>
          <p:cNvSpPr/>
          <p:nvPr/>
        </p:nvSpPr>
        <p:spPr>
          <a:xfrm>
            <a:off x="516996" y="1181759"/>
            <a:ext cx="5076000" cy="498400"/>
          </a:xfrm>
          <a:prstGeom prst="roundRect">
            <a:avLst>
              <a:gd name="adj" fmla="val 16667"/>
            </a:avLst>
          </a:prstGeom>
          <a:solidFill>
            <a:srgbClr val="2D2D2D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algn="ctr">
              <a:buSzPts val="1100"/>
            </a:pPr>
            <a:r>
              <a:rPr lang="en" sz="1333" b="1" dirty="0">
                <a:solidFill>
                  <a:srgbClr val="FFFFFF"/>
                </a:solidFill>
                <a:latin typeface="Georgia" panose="02040502050405020303" pitchFamily="18" charset="0"/>
              </a:rPr>
              <a:t>Key Business Priorities for Founders</a:t>
            </a:r>
            <a:endParaRPr sz="1333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166" name="Google Shape;8337;p430">
            <a:extLst>
              <a:ext uri="{FF2B5EF4-FFF2-40B4-BE49-F238E27FC236}">
                <a16:creationId xmlns:a16="http://schemas.microsoft.com/office/drawing/2014/main" id="{DED2B57D-33AE-4060-BFEC-FC7374E0D254}"/>
              </a:ext>
            </a:extLst>
          </p:cNvPr>
          <p:cNvSpPr/>
          <p:nvPr/>
        </p:nvSpPr>
        <p:spPr>
          <a:xfrm>
            <a:off x="5159202" y="1968259"/>
            <a:ext cx="87200" cy="872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sp>
        <p:nvSpPr>
          <p:cNvPr id="196" name="Google Shape;9517;p450">
            <a:extLst>
              <a:ext uri="{FF2B5EF4-FFF2-40B4-BE49-F238E27FC236}">
                <a16:creationId xmlns:a16="http://schemas.microsoft.com/office/drawing/2014/main" id="{27172FC2-1606-43F5-8528-6933A8D1242C}"/>
              </a:ext>
            </a:extLst>
          </p:cNvPr>
          <p:cNvSpPr/>
          <p:nvPr/>
        </p:nvSpPr>
        <p:spPr>
          <a:xfrm flipH="1">
            <a:off x="629605" y="2186449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Turn idea into reality, ensure product market fit, </a:t>
            </a:r>
          </a:p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building a brand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197" name="Google Shape;9520;p450">
            <a:extLst>
              <a:ext uri="{FF2B5EF4-FFF2-40B4-BE49-F238E27FC236}">
                <a16:creationId xmlns:a16="http://schemas.microsoft.com/office/drawing/2014/main" id="{7DAFC589-CE66-4DE8-9A3D-51FFDF575DE0}"/>
              </a:ext>
            </a:extLst>
          </p:cNvPr>
          <p:cNvSpPr/>
          <p:nvPr/>
        </p:nvSpPr>
        <p:spPr>
          <a:xfrm>
            <a:off x="5055812" y="2260671"/>
            <a:ext cx="409955" cy="409956"/>
          </a:xfrm>
          <a:custGeom>
            <a:avLst/>
            <a:gdLst/>
            <a:ahLst/>
            <a:cxnLst/>
            <a:rect l="l" t="t" r="r" b="b"/>
            <a:pathLst>
              <a:path w="457199" h="457200" extrusionOk="0">
                <a:moveTo>
                  <a:pt x="417386" y="97885"/>
                </a:moveTo>
                <a:lnTo>
                  <a:pt x="86360" y="97885"/>
                </a:lnTo>
                <a:lnTo>
                  <a:pt x="86360" y="149225"/>
                </a:lnTo>
                <a:lnTo>
                  <a:pt x="38513" y="149225"/>
                </a:lnTo>
                <a:lnTo>
                  <a:pt x="38513" y="334423"/>
                </a:lnTo>
                <a:lnTo>
                  <a:pt x="266319" y="334423"/>
                </a:lnTo>
                <a:lnTo>
                  <a:pt x="266319" y="358553"/>
                </a:lnTo>
                <a:cubicBezTo>
                  <a:pt x="266319" y="378682"/>
                  <a:pt x="292767" y="394430"/>
                  <a:pt x="326644" y="394430"/>
                </a:cubicBezTo>
                <a:cubicBezTo>
                  <a:pt x="360521" y="394430"/>
                  <a:pt x="386779" y="378555"/>
                  <a:pt x="386779" y="358553"/>
                </a:cubicBezTo>
                <a:lnTo>
                  <a:pt x="386779" y="283083"/>
                </a:lnTo>
                <a:lnTo>
                  <a:pt x="417544" y="283083"/>
                </a:lnTo>
                <a:close/>
                <a:moveTo>
                  <a:pt x="57721" y="168497"/>
                </a:moveTo>
                <a:lnTo>
                  <a:pt x="350076" y="168497"/>
                </a:lnTo>
                <a:lnTo>
                  <a:pt x="350076" y="228822"/>
                </a:lnTo>
                <a:cubicBezTo>
                  <a:pt x="342351" y="226957"/>
                  <a:pt x="334432" y="226030"/>
                  <a:pt x="326485" y="226060"/>
                </a:cubicBezTo>
                <a:cubicBezTo>
                  <a:pt x="292767" y="226060"/>
                  <a:pt x="266160" y="241935"/>
                  <a:pt x="266160" y="261938"/>
                </a:cubicBezTo>
                <a:lnTo>
                  <a:pt x="266160" y="314960"/>
                </a:lnTo>
                <a:lnTo>
                  <a:pt x="57721" y="314960"/>
                </a:lnTo>
                <a:close/>
                <a:moveTo>
                  <a:pt x="370999" y="262001"/>
                </a:moveTo>
                <a:cubicBezTo>
                  <a:pt x="370999" y="271526"/>
                  <a:pt x="351949" y="282258"/>
                  <a:pt x="326549" y="282258"/>
                </a:cubicBezTo>
                <a:cubicBezTo>
                  <a:pt x="301149" y="282258"/>
                  <a:pt x="282099" y="271558"/>
                  <a:pt x="282099" y="262001"/>
                </a:cubicBezTo>
                <a:cubicBezTo>
                  <a:pt x="282099" y="252444"/>
                  <a:pt x="301149" y="241745"/>
                  <a:pt x="326549" y="241745"/>
                </a:cubicBezTo>
                <a:cubicBezTo>
                  <a:pt x="351949" y="241745"/>
                  <a:pt x="370999" y="252444"/>
                  <a:pt x="370999" y="262001"/>
                </a:cubicBezTo>
                <a:close/>
                <a:moveTo>
                  <a:pt x="326549" y="378746"/>
                </a:moveTo>
                <a:cubicBezTo>
                  <a:pt x="301149" y="378746"/>
                  <a:pt x="282099" y="368046"/>
                  <a:pt x="282099" y="358489"/>
                </a:cubicBezTo>
                <a:lnTo>
                  <a:pt x="282099" y="350203"/>
                </a:lnTo>
                <a:cubicBezTo>
                  <a:pt x="295531" y="358165"/>
                  <a:pt x="310939" y="362172"/>
                  <a:pt x="326549" y="361760"/>
                </a:cubicBezTo>
                <a:cubicBezTo>
                  <a:pt x="342157" y="362172"/>
                  <a:pt x="357565" y="358165"/>
                  <a:pt x="370999" y="350203"/>
                </a:cubicBezTo>
                <a:lnTo>
                  <a:pt x="370999" y="358489"/>
                </a:lnTo>
                <a:cubicBezTo>
                  <a:pt x="370999" y="368046"/>
                  <a:pt x="351949" y="378746"/>
                  <a:pt x="326485" y="378746"/>
                </a:cubicBezTo>
                <a:close/>
                <a:moveTo>
                  <a:pt x="326549" y="346139"/>
                </a:moveTo>
                <a:cubicBezTo>
                  <a:pt x="301149" y="346139"/>
                  <a:pt x="282099" y="335439"/>
                  <a:pt x="282099" y="325882"/>
                </a:cubicBezTo>
                <a:lnTo>
                  <a:pt x="282099" y="318992"/>
                </a:lnTo>
                <a:cubicBezTo>
                  <a:pt x="295520" y="326984"/>
                  <a:pt x="310934" y="331000"/>
                  <a:pt x="326549" y="330581"/>
                </a:cubicBezTo>
                <a:cubicBezTo>
                  <a:pt x="342163" y="331000"/>
                  <a:pt x="357578" y="326984"/>
                  <a:pt x="370999" y="318992"/>
                </a:cubicBezTo>
                <a:lnTo>
                  <a:pt x="370999" y="325882"/>
                </a:lnTo>
                <a:cubicBezTo>
                  <a:pt x="370999" y="335439"/>
                  <a:pt x="351949" y="346075"/>
                  <a:pt x="326485" y="346075"/>
                </a:cubicBezTo>
                <a:close/>
                <a:moveTo>
                  <a:pt x="326549" y="314960"/>
                </a:moveTo>
                <a:cubicBezTo>
                  <a:pt x="301149" y="314960"/>
                  <a:pt x="282099" y="304260"/>
                  <a:pt x="282099" y="294704"/>
                </a:cubicBezTo>
                <a:lnTo>
                  <a:pt x="282099" y="286290"/>
                </a:lnTo>
                <a:cubicBezTo>
                  <a:pt x="295520" y="294280"/>
                  <a:pt x="310934" y="298299"/>
                  <a:pt x="326549" y="297879"/>
                </a:cubicBezTo>
                <a:cubicBezTo>
                  <a:pt x="342163" y="298299"/>
                  <a:pt x="357578" y="294280"/>
                  <a:pt x="370999" y="286290"/>
                </a:cubicBezTo>
                <a:lnTo>
                  <a:pt x="370999" y="294704"/>
                </a:lnTo>
                <a:cubicBezTo>
                  <a:pt x="370999" y="304260"/>
                  <a:pt x="351949" y="314960"/>
                  <a:pt x="326485" y="314960"/>
                </a:cubicBezTo>
                <a:close/>
                <a:moveTo>
                  <a:pt x="398113" y="263747"/>
                </a:moveTo>
                <a:lnTo>
                  <a:pt x="386683" y="263747"/>
                </a:lnTo>
                <a:lnTo>
                  <a:pt x="386683" y="262001"/>
                </a:lnTo>
                <a:cubicBezTo>
                  <a:pt x="386683" y="252000"/>
                  <a:pt x="380333" y="242951"/>
                  <a:pt x="369475" y="236601"/>
                </a:cubicBezTo>
                <a:lnTo>
                  <a:pt x="369475" y="149225"/>
                </a:lnTo>
                <a:lnTo>
                  <a:pt x="105950" y="149225"/>
                </a:lnTo>
                <a:lnTo>
                  <a:pt x="105950" y="117221"/>
                </a:lnTo>
                <a:lnTo>
                  <a:pt x="398272" y="117221"/>
                </a:lnTo>
                <a:close/>
                <a:moveTo>
                  <a:pt x="203898" y="181832"/>
                </a:moveTo>
                <a:cubicBezTo>
                  <a:pt x="178499" y="181832"/>
                  <a:pt x="158782" y="208153"/>
                  <a:pt x="158782" y="241776"/>
                </a:cubicBezTo>
                <a:cubicBezTo>
                  <a:pt x="158782" y="275400"/>
                  <a:pt x="178594" y="301625"/>
                  <a:pt x="203898" y="301625"/>
                </a:cubicBezTo>
                <a:cubicBezTo>
                  <a:pt x="229203" y="301625"/>
                  <a:pt x="249015" y="275368"/>
                  <a:pt x="249015" y="241776"/>
                </a:cubicBezTo>
                <a:cubicBezTo>
                  <a:pt x="249015" y="208185"/>
                  <a:pt x="229203" y="181832"/>
                  <a:pt x="203898" y="181832"/>
                </a:cubicBezTo>
                <a:close/>
                <a:moveTo>
                  <a:pt x="203898" y="284131"/>
                </a:moveTo>
                <a:cubicBezTo>
                  <a:pt x="188976" y="284131"/>
                  <a:pt x="176371" y="264732"/>
                  <a:pt x="176371" y="241776"/>
                </a:cubicBezTo>
                <a:cubicBezTo>
                  <a:pt x="176371" y="218821"/>
                  <a:pt x="189071" y="199422"/>
                  <a:pt x="203898" y="199422"/>
                </a:cubicBezTo>
                <a:cubicBezTo>
                  <a:pt x="218726" y="199422"/>
                  <a:pt x="231426" y="218821"/>
                  <a:pt x="231426" y="241776"/>
                </a:cubicBezTo>
                <a:cubicBezTo>
                  <a:pt x="231426" y="264732"/>
                  <a:pt x="218821" y="284131"/>
                  <a:pt x="203898" y="284131"/>
                </a:cubicBezTo>
                <a:close/>
                <a:moveTo>
                  <a:pt x="0" y="0"/>
                </a:moveTo>
                <a:lnTo>
                  <a:pt x="0" y="457200"/>
                </a:lnTo>
                <a:lnTo>
                  <a:pt x="457200" y="457200"/>
                </a:lnTo>
                <a:lnTo>
                  <a:pt x="457200" y="0"/>
                </a:lnTo>
                <a:close/>
                <a:moveTo>
                  <a:pt x="437706" y="437706"/>
                </a:moveTo>
                <a:lnTo>
                  <a:pt x="19463" y="437706"/>
                </a:lnTo>
                <a:lnTo>
                  <a:pt x="19463" y="19495"/>
                </a:lnTo>
                <a:lnTo>
                  <a:pt x="437706" y="1949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endParaRPr sz="933" b="1" dirty="0">
              <a:solidFill>
                <a:srgbClr val="D04A02"/>
              </a:solidFill>
              <a:latin typeface="Georgia" panose="02040502050405020303" pitchFamily="18" charset="0"/>
            </a:endParaRPr>
          </a:p>
        </p:txBody>
      </p:sp>
      <p:sp>
        <p:nvSpPr>
          <p:cNvPr id="198" name="Google Shape;9521;p450">
            <a:extLst>
              <a:ext uri="{FF2B5EF4-FFF2-40B4-BE49-F238E27FC236}">
                <a16:creationId xmlns:a16="http://schemas.microsoft.com/office/drawing/2014/main" id="{FDC5E97E-70C5-444E-818A-52D1B27749D6}"/>
              </a:ext>
            </a:extLst>
          </p:cNvPr>
          <p:cNvSpPr/>
          <p:nvPr/>
        </p:nvSpPr>
        <p:spPr>
          <a:xfrm flipH="1">
            <a:off x="607837" y="2825646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Develop strong business plan and strategy, build a </a:t>
            </a:r>
          </a:p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strong and reliable team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199" name="Google Shape;9525;p450">
            <a:extLst>
              <a:ext uri="{FF2B5EF4-FFF2-40B4-BE49-F238E27FC236}">
                <a16:creationId xmlns:a16="http://schemas.microsoft.com/office/drawing/2014/main" id="{CFE4C4AC-EA49-403A-A741-6FE8E33441FB}"/>
              </a:ext>
            </a:extLst>
          </p:cNvPr>
          <p:cNvSpPr/>
          <p:nvPr/>
        </p:nvSpPr>
        <p:spPr>
          <a:xfrm flipH="1">
            <a:off x="607837" y="3473955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Capital infusion (self) and raising funds from </a:t>
            </a:r>
          </a:p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investors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00" name="Google Shape;9529;p450">
            <a:extLst>
              <a:ext uri="{FF2B5EF4-FFF2-40B4-BE49-F238E27FC236}">
                <a16:creationId xmlns:a16="http://schemas.microsoft.com/office/drawing/2014/main" id="{756FDB1D-AF7B-4038-A693-C1449C1ECBC0}"/>
              </a:ext>
            </a:extLst>
          </p:cNvPr>
          <p:cNvSpPr/>
          <p:nvPr/>
        </p:nvSpPr>
        <p:spPr>
          <a:xfrm flipH="1">
            <a:off x="607837" y="4114020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Rapid growth, higher valuation while keeping costs </a:t>
            </a:r>
          </a:p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at a minimum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01" name="Google Shape;9533;p450">
            <a:extLst>
              <a:ext uri="{FF2B5EF4-FFF2-40B4-BE49-F238E27FC236}">
                <a16:creationId xmlns:a16="http://schemas.microsoft.com/office/drawing/2014/main" id="{E0FD89A3-ED7A-4B7F-A077-BDC977F08C91}"/>
              </a:ext>
            </a:extLst>
          </p:cNvPr>
          <p:cNvSpPr/>
          <p:nvPr/>
        </p:nvSpPr>
        <p:spPr>
          <a:xfrm flipH="1">
            <a:off x="607837" y="4765066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Customer satisfaction, retention and growth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02" name="Google Shape;9537;p450">
            <a:extLst>
              <a:ext uri="{FF2B5EF4-FFF2-40B4-BE49-F238E27FC236}">
                <a16:creationId xmlns:a16="http://schemas.microsoft.com/office/drawing/2014/main" id="{6101B58C-B14D-440C-B980-21A4832F8C39}"/>
              </a:ext>
            </a:extLst>
          </p:cNvPr>
          <p:cNvSpPr/>
          <p:nvPr/>
        </p:nvSpPr>
        <p:spPr>
          <a:xfrm>
            <a:off x="5049176" y="2886937"/>
            <a:ext cx="414527" cy="414528"/>
          </a:xfrm>
          <a:custGeom>
            <a:avLst/>
            <a:gdLst/>
            <a:ahLst/>
            <a:cxnLst/>
            <a:rect l="l" t="t" r="r" b="b"/>
            <a:pathLst>
              <a:path w="704" h="705" extrusionOk="0">
                <a:moveTo>
                  <a:pt x="368" y="655"/>
                </a:moveTo>
                <a:lnTo>
                  <a:pt x="339" y="655"/>
                </a:lnTo>
                <a:lnTo>
                  <a:pt x="339" y="625"/>
                </a:lnTo>
                <a:lnTo>
                  <a:pt x="368" y="625"/>
                </a:lnTo>
                <a:lnTo>
                  <a:pt x="368" y="655"/>
                </a:lnTo>
                <a:close/>
                <a:moveTo>
                  <a:pt x="368" y="557"/>
                </a:moveTo>
                <a:lnTo>
                  <a:pt x="339" y="557"/>
                </a:lnTo>
                <a:lnTo>
                  <a:pt x="339" y="528"/>
                </a:lnTo>
                <a:lnTo>
                  <a:pt x="368" y="528"/>
                </a:lnTo>
                <a:lnTo>
                  <a:pt x="368" y="557"/>
                </a:lnTo>
                <a:close/>
                <a:moveTo>
                  <a:pt x="368" y="459"/>
                </a:moveTo>
                <a:lnTo>
                  <a:pt x="339" y="459"/>
                </a:lnTo>
                <a:lnTo>
                  <a:pt x="339" y="430"/>
                </a:lnTo>
                <a:lnTo>
                  <a:pt x="368" y="430"/>
                </a:lnTo>
                <a:lnTo>
                  <a:pt x="368" y="459"/>
                </a:lnTo>
                <a:close/>
                <a:moveTo>
                  <a:pt x="368" y="361"/>
                </a:moveTo>
                <a:lnTo>
                  <a:pt x="339" y="361"/>
                </a:lnTo>
                <a:lnTo>
                  <a:pt x="339" y="332"/>
                </a:lnTo>
                <a:lnTo>
                  <a:pt x="368" y="332"/>
                </a:lnTo>
                <a:lnTo>
                  <a:pt x="368" y="361"/>
                </a:lnTo>
                <a:close/>
                <a:moveTo>
                  <a:pt x="368" y="263"/>
                </a:moveTo>
                <a:lnTo>
                  <a:pt x="339" y="263"/>
                </a:lnTo>
                <a:lnTo>
                  <a:pt x="339" y="234"/>
                </a:lnTo>
                <a:lnTo>
                  <a:pt x="368" y="234"/>
                </a:lnTo>
                <a:lnTo>
                  <a:pt x="368" y="263"/>
                </a:lnTo>
                <a:close/>
                <a:moveTo>
                  <a:pt x="479" y="655"/>
                </a:moveTo>
                <a:lnTo>
                  <a:pt x="449" y="655"/>
                </a:lnTo>
                <a:lnTo>
                  <a:pt x="449" y="625"/>
                </a:lnTo>
                <a:lnTo>
                  <a:pt x="479" y="625"/>
                </a:lnTo>
                <a:lnTo>
                  <a:pt x="479" y="655"/>
                </a:lnTo>
                <a:close/>
                <a:moveTo>
                  <a:pt x="479" y="557"/>
                </a:moveTo>
                <a:lnTo>
                  <a:pt x="449" y="557"/>
                </a:lnTo>
                <a:lnTo>
                  <a:pt x="449" y="528"/>
                </a:lnTo>
                <a:lnTo>
                  <a:pt x="479" y="528"/>
                </a:lnTo>
                <a:lnTo>
                  <a:pt x="479" y="557"/>
                </a:lnTo>
                <a:close/>
                <a:moveTo>
                  <a:pt x="479" y="459"/>
                </a:moveTo>
                <a:lnTo>
                  <a:pt x="449" y="459"/>
                </a:lnTo>
                <a:lnTo>
                  <a:pt x="449" y="430"/>
                </a:lnTo>
                <a:lnTo>
                  <a:pt x="479" y="430"/>
                </a:lnTo>
                <a:lnTo>
                  <a:pt x="479" y="459"/>
                </a:lnTo>
                <a:close/>
                <a:moveTo>
                  <a:pt x="479" y="361"/>
                </a:moveTo>
                <a:lnTo>
                  <a:pt x="449" y="361"/>
                </a:lnTo>
                <a:lnTo>
                  <a:pt x="449" y="332"/>
                </a:lnTo>
                <a:lnTo>
                  <a:pt x="479" y="332"/>
                </a:lnTo>
                <a:lnTo>
                  <a:pt x="479" y="361"/>
                </a:lnTo>
                <a:close/>
                <a:moveTo>
                  <a:pt x="479" y="263"/>
                </a:moveTo>
                <a:lnTo>
                  <a:pt x="449" y="263"/>
                </a:lnTo>
                <a:lnTo>
                  <a:pt x="449" y="234"/>
                </a:lnTo>
                <a:lnTo>
                  <a:pt x="479" y="234"/>
                </a:lnTo>
                <a:lnTo>
                  <a:pt x="479" y="263"/>
                </a:lnTo>
                <a:close/>
                <a:moveTo>
                  <a:pt x="258" y="655"/>
                </a:moveTo>
                <a:lnTo>
                  <a:pt x="227" y="655"/>
                </a:lnTo>
                <a:lnTo>
                  <a:pt x="227" y="625"/>
                </a:lnTo>
                <a:lnTo>
                  <a:pt x="258" y="625"/>
                </a:lnTo>
                <a:lnTo>
                  <a:pt x="258" y="655"/>
                </a:lnTo>
                <a:close/>
                <a:moveTo>
                  <a:pt x="258" y="557"/>
                </a:moveTo>
                <a:lnTo>
                  <a:pt x="227" y="557"/>
                </a:lnTo>
                <a:lnTo>
                  <a:pt x="227" y="528"/>
                </a:lnTo>
                <a:lnTo>
                  <a:pt x="258" y="528"/>
                </a:lnTo>
                <a:lnTo>
                  <a:pt x="258" y="557"/>
                </a:lnTo>
                <a:close/>
                <a:moveTo>
                  <a:pt x="258" y="459"/>
                </a:moveTo>
                <a:lnTo>
                  <a:pt x="227" y="459"/>
                </a:lnTo>
                <a:lnTo>
                  <a:pt x="227" y="430"/>
                </a:lnTo>
                <a:lnTo>
                  <a:pt x="258" y="430"/>
                </a:lnTo>
                <a:lnTo>
                  <a:pt x="258" y="459"/>
                </a:lnTo>
                <a:close/>
                <a:moveTo>
                  <a:pt x="0" y="0"/>
                </a:moveTo>
                <a:lnTo>
                  <a:pt x="0" y="705"/>
                </a:lnTo>
                <a:lnTo>
                  <a:pt x="159" y="705"/>
                </a:lnTo>
                <a:lnTo>
                  <a:pt x="159" y="650"/>
                </a:lnTo>
                <a:lnTo>
                  <a:pt x="159" y="650"/>
                </a:lnTo>
                <a:lnTo>
                  <a:pt x="159" y="360"/>
                </a:lnTo>
                <a:lnTo>
                  <a:pt x="258" y="360"/>
                </a:lnTo>
                <a:lnTo>
                  <a:pt x="258" y="169"/>
                </a:lnTo>
                <a:lnTo>
                  <a:pt x="546" y="169"/>
                </a:lnTo>
                <a:lnTo>
                  <a:pt x="546" y="674"/>
                </a:lnTo>
                <a:lnTo>
                  <a:pt x="546" y="674"/>
                </a:lnTo>
                <a:lnTo>
                  <a:pt x="546" y="705"/>
                </a:lnTo>
                <a:lnTo>
                  <a:pt x="704" y="705"/>
                </a:lnTo>
                <a:lnTo>
                  <a:pt x="704" y="0"/>
                </a:lnTo>
                <a:lnTo>
                  <a:pt x="0" y="0"/>
                </a:lnTo>
                <a:close/>
                <a:moveTo>
                  <a:pt x="673" y="674"/>
                </a:moveTo>
                <a:lnTo>
                  <a:pt x="577" y="674"/>
                </a:lnTo>
                <a:lnTo>
                  <a:pt x="577" y="138"/>
                </a:lnTo>
                <a:lnTo>
                  <a:pt x="227" y="138"/>
                </a:lnTo>
                <a:lnTo>
                  <a:pt x="227" y="329"/>
                </a:lnTo>
                <a:lnTo>
                  <a:pt x="128" y="329"/>
                </a:lnTo>
                <a:lnTo>
                  <a:pt x="128" y="674"/>
                </a:lnTo>
                <a:lnTo>
                  <a:pt x="31" y="674"/>
                </a:lnTo>
                <a:lnTo>
                  <a:pt x="31" y="31"/>
                </a:lnTo>
                <a:lnTo>
                  <a:pt x="673" y="31"/>
                </a:lnTo>
                <a:lnTo>
                  <a:pt x="673" y="67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endParaRPr sz="2400" dirty="0">
              <a:latin typeface="Georgia" panose="02040502050405020303" pitchFamily="18" charset="0"/>
            </a:endParaRPr>
          </a:p>
        </p:txBody>
      </p:sp>
      <p:sp>
        <p:nvSpPr>
          <p:cNvPr id="203" name="Google Shape;9538;p450">
            <a:extLst>
              <a:ext uri="{FF2B5EF4-FFF2-40B4-BE49-F238E27FC236}">
                <a16:creationId xmlns:a16="http://schemas.microsoft.com/office/drawing/2014/main" id="{A7B34B92-A6A4-4006-9101-E7D71DD20FBE}"/>
              </a:ext>
            </a:extLst>
          </p:cNvPr>
          <p:cNvSpPr/>
          <p:nvPr/>
        </p:nvSpPr>
        <p:spPr>
          <a:xfrm>
            <a:off x="5049182" y="3535246"/>
            <a:ext cx="414528" cy="41452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332" y="100"/>
                </a:moveTo>
                <a:cubicBezTo>
                  <a:pt x="315" y="100"/>
                  <a:pt x="300" y="107"/>
                  <a:pt x="288" y="119"/>
                </a:cubicBezTo>
                <a:cubicBezTo>
                  <a:pt x="277" y="107"/>
                  <a:pt x="262" y="100"/>
                  <a:pt x="245" y="100"/>
                </a:cubicBezTo>
                <a:cubicBezTo>
                  <a:pt x="212" y="100"/>
                  <a:pt x="185" y="127"/>
                  <a:pt x="185" y="160"/>
                </a:cubicBezTo>
                <a:cubicBezTo>
                  <a:pt x="185" y="174"/>
                  <a:pt x="190" y="188"/>
                  <a:pt x="20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80" y="284"/>
                  <a:pt x="280" y="284"/>
                  <a:pt x="280" y="284"/>
                </a:cubicBezTo>
                <a:cubicBezTo>
                  <a:pt x="288" y="293"/>
                  <a:pt x="288" y="293"/>
                  <a:pt x="288" y="293"/>
                </a:cubicBezTo>
                <a:cubicBezTo>
                  <a:pt x="297" y="284"/>
                  <a:pt x="297" y="284"/>
                  <a:pt x="297" y="284"/>
                </a:cubicBezTo>
                <a:cubicBezTo>
                  <a:pt x="377" y="200"/>
                  <a:pt x="377" y="200"/>
                  <a:pt x="377" y="200"/>
                </a:cubicBezTo>
                <a:cubicBezTo>
                  <a:pt x="387" y="189"/>
                  <a:pt x="392" y="175"/>
                  <a:pt x="392" y="160"/>
                </a:cubicBezTo>
                <a:cubicBezTo>
                  <a:pt x="392" y="127"/>
                  <a:pt x="365" y="100"/>
                  <a:pt x="332" y="100"/>
                </a:cubicBezTo>
                <a:close/>
                <a:moveTo>
                  <a:pt x="353" y="190"/>
                </a:moveTo>
                <a:cubicBezTo>
                  <a:pt x="288" y="259"/>
                  <a:pt x="288" y="259"/>
                  <a:pt x="288" y="259"/>
                </a:cubicBezTo>
                <a:cubicBezTo>
                  <a:pt x="223" y="191"/>
                  <a:pt x="223" y="191"/>
                  <a:pt x="223" y="191"/>
                </a:cubicBezTo>
                <a:cubicBezTo>
                  <a:pt x="218" y="183"/>
                  <a:pt x="210" y="174"/>
                  <a:pt x="210" y="164"/>
                </a:cubicBezTo>
                <a:cubicBezTo>
                  <a:pt x="210" y="138"/>
                  <a:pt x="230" y="125"/>
                  <a:pt x="253" y="125"/>
                </a:cubicBezTo>
                <a:cubicBezTo>
                  <a:pt x="265" y="125"/>
                  <a:pt x="276" y="132"/>
                  <a:pt x="283" y="141"/>
                </a:cubicBezTo>
                <a:cubicBezTo>
                  <a:pt x="285" y="143"/>
                  <a:pt x="286" y="144"/>
                  <a:pt x="288" y="144"/>
                </a:cubicBezTo>
                <a:cubicBezTo>
                  <a:pt x="290" y="144"/>
                  <a:pt x="292" y="143"/>
                  <a:pt x="293" y="141"/>
                </a:cubicBezTo>
                <a:cubicBezTo>
                  <a:pt x="300" y="132"/>
                  <a:pt x="311" y="126"/>
                  <a:pt x="324" y="126"/>
                </a:cubicBezTo>
                <a:cubicBezTo>
                  <a:pt x="349" y="126"/>
                  <a:pt x="367" y="143"/>
                  <a:pt x="367" y="165"/>
                </a:cubicBezTo>
                <a:cubicBezTo>
                  <a:pt x="367" y="175"/>
                  <a:pt x="359" y="184"/>
                  <a:pt x="353" y="190"/>
                </a:cubicBezTo>
                <a:close/>
                <a:moveTo>
                  <a:pt x="0" y="0"/>
                </a:moveTo>
                <a:cubicBezTo>
                  <a:pt x="0" y="570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6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247" y="497"/>
                </a:moveTo>
                <a:cubicBezTo>
                  <a:pt x="247" y="541"/>
                  <a:pt x="247" y="549"/>
                  <a:pt x="247" y="551"/>
                </a:cubicBezTo>
                <a:cubicBezTo>
                  <a:pt x="162" y="551"/>
                  <a:pt x="162" y="551"/>
                  <a:pt x="162" y="551"/>
                </a:cubicBezTo>
                <a:cubicBezTo>
                  <a:pt x="162" y="458"/>
                  <a:pt x="162" y="458"/>
                  <a:pt x="162" y="458"/>
                </a:cubicBezTo>
                <a:cubicBezTo>
                  <a:pt x="76" y="371"/>
                  <a:pt x="76" y="371"/>
                  <a:pt x="76" y="371"/>
                </a:cubicBezTo>
                <a:cubicBezTo>
                  <a:pt x="74" y="369"/>
                  <a:pt x="72" y="365"/>
                  <a:pt x="72" y="362"/>
                </a:cubicBezTo>
                <a:cubicBezTo>
                  <a:pt x="73" y="170"/>
                  <a:pt x="73" y="170"/>
                  <a:pt x="73" y="170"/>
                </a:cubicBezTo>
                <a:cubicBezTo>
                  <a:pt x="73" y="166"/>
                  <a:pt x="74" y="163"/>
                  <a:pt x="77" y="160"/>
                </a:cubicBezTo>
                <a:cubicBezTo>
                  <a:pt x="80" y="158"/>
                  <a:pt x="83" y="156"/>
                  <a:pt x="87" y="157"/>
                </a:cubicBezTo>
                <a:cubicBezTo>
                  <a:pt x="94" y="157"/>
                  <a:pt x="100" y="164"/>
                  <a:pt x="100" y="172"/>
                </a:cubicBezTo>
                <a:cubicBezTo>
                  <a:pt x="100" y="319"/>
                  <a:pt x="100" y="319"/>
                  <a:pt x="100" y="319"/>
                </a:cubicBezTo>
                <a:cubicBezTo>
                  <a:pt x="100" y="333"/>
                  <a:pt x="111" y="351"/>
                  <a:pt x="118" y="358"/>
                </a:cubicBezTo>
                <a:cubicBezTo>
                  <a:pt x="199" y="440"/>
                  <a:pt x="199" y="440"/>
                  <a:pt x="199" y="440"/>
                </a:cubicBezTo>
                <a:cubicBezTo>
                  <a:pt x="200" y="440"/>
                  <a:pt x="200" y="440"/>
                  <a:pt x="200" y="440"/>
                </a:cubicBezTo>
                <a:cubicBezTo>
                  <a:pt x="217" y="423"/>
                  <a:pt x="217" y="423"/>
                  <a:pt x="217" y="423"/>
                </a:cubicBezTo>
                <a:cubicBezTo>
                  <a:pt x="136" y="340"/>
                  <a:pt x="136" y="340"/>
                  <a:pt x="136" y="340"/>
                </a:cubicBezTo>
                <a:cubicBezTo>
                  <a:pt x="130" y="335"/>
                  <a:pt x="130" y="326"/>
                  <a:pt x="136" y="321"/>
                </a:cubicBezTo>
                <a:cubicBezTo>
                  <a:pt x="138" y="318"/>
                  <a:pt x="142" y="317"/>
                  <a:pt x="145" y="317"/>
                </a:cubicBezTo>
                <a:cubicBezTo>
                  <a:pt x="149" y="317"/>
                  <a:pt x="152" y="318"/>
                  <a:pt x="155" y="321"/>
                </a:cubicBezTo>
                <a:cubicBezTo>
                  <a:pt x="243" y="411"/>
                  <a:pt x="243" y="411"/>
                  <a:pt x="243" y="411"/>
                </a:cubicBezTo>
                <a:cubicBezTo>
                  <a:pt x="246" y="413"/>
                  <a:pt x="247" y="417"/>
                  <a:pt x="247" y="420"/>
                </a:cubicBezTo>
                <a:cubicBezTo>
                  <a:pt x="247" y="497"/>
                  <a:pt x="247" y="497"/>
                  <a:pt x="247" y="497"/>
                </a:cubicBezTo>
                <a:close/>
                <a:moveTo>
                  <a:pt x="329" y="551"/>
                </a:moveTo>
                <a:cubicBezTo>
                  <a:pt x="329" y="497"/>
                  <a:pt x="329" y="497"/>
                  <a:pt x="329" y="497"/>
                </a:cubicBezTo>
                <a:cubicBezTo>
                  <a:pt x="329" y="420"/>
                  <a:pt x="329" y="420"/>
                  <a:pt x="329" y="420"/>
                </a:cubicBezTo>
                <a:cubicBezTo>
                  <a:pt x="329" y="417"/>
                  <a:pt x="330" y="413"/>
                  <a:pt x="333" y="411"/>
                </a:cubicBezTo>
                <a:cubicBezTo>
                  <a:pt x="421" y="321"/>
                  <a:pt x="421" y="321"/>
                  <a:pt x="421" y="321"/>
                </a:cubicBezTo>
                <a:cubicBezTo>
                  <a:pt x="424" y="318"/>
                  <a:pt x="427" y="317"/>
                  <a:pt x="431" y="317"/>
                </a:cubicBezTo>
                <a:cubicBezTo>
                  <a:pt x="434" y="317"/>
                  <a:pt x="438" y="318"/>
                  <a:pt x="440" y="321"/>
                </a:cubicBezTo>
                <a:cubicBezTo>
                  <a:pt x="446" y="326"/>
                  <a:pt x="446" y="335"/>
                  <a:pt x="440" y="340"/>
                </a:cubicBezTo>
                <a:cubicBezTo>
                  <a:pt x="359" y="423"/>
                  <a:pt x="359" y="423"/>
                  <a:pt x="359" y="423"/>
                </a:cubicBezTo>
                <a:cubicBezTo>
                  <a:pt x="376" y="440"/>
                  <a:pt x="376" y="440"/>
                  <a:pt x="376" y="440"/>
                </a:cubicBezTo>
                <a:cubicBezTo>
                  <a:pt x="458" y="358"/>
                  <a:pt x="458" y="358"/>
                  <a:pt x="458" y="358"/>
                </a:cubicBezTo>
                <a:cubicBezTo>
                  <a:pt x="465" y="351"/>
                  <a:pt x="476" y="333"/>
                  <a:pt x="476" y="319"/>
                </a:cubicBezTo>
                <a:cubicBezTo>
                  <a:pt x="476" y="172"/>
                  <a:pt x="476" y="172"/>
                  <a:pt x="476" y="172"/>
                </a:cubicBezTo>
                <a:cubicBezTo>
                  <a:pt x="476" y="164"/>
                  <a:pt x="482" y="157"/>
                  <a:pt x="489" y="157"/>
                </a:cubicBezTo>
                <a:cubicBezTo>
                  <a:pt x="493" y="156"/>
                  <a:pt x="496" y="158"/>
                  <a:pt x="499" y="160"/>
                </a:cubicBezTo>
                <a:cubicBezTo>
                  <a:pt x="502" y="163"/>
                  <a:pt x="503" y="166"/>
                  <a:pt x="503" y="170"/>
                </a:cubicBezTo>
                <a:cubicBezTo>
                  <a:pt x="504" y="362"/>
                  <a:pt x="504" y="362"/>
                  <a:pt x="504" y="362"/>
                </a:cubicBezTo>
                <a:cubicBezTo>
                  <a:pt x="504" y="365"/>
                  <a:pt x="502" y="369"/>
                  <a:pt x="500" y="371"/>
                </a:cubicBezTo>
                <a:cubicBezTo>
                  <a:pt x="414" y="458"/>
                  <a:pt x="414" y="458"/>
                  <a:pt x="414" y="458"/>
                </a:cubicBezTo>
                <a:cubicBezTo>
                  <a:pt x="414" y="536"/>
                  <a:pt x="414" y="549"/>
                  <a:pt x="414" y="551"/>
                </a:cubicBezTo>
                <a:lnTo>
                  <a:pt x="329" y="551"/>
                </a:lnTo>
                <a:close/>
                <a:moveTo>
                  <a:pt x="552" y="551"/>
                </a:moveTo>
                <a:cubicBezTo>
                  <a:pt x="551" y="551"/>
                  <a:pt x="551" y="551"/>
                  <a:pt x="551" y="551"/>
                </a:cubicBezTo>
                <a:cubicBezTo>
                  <a:pt x="438" y="551"/>
                  <a:pt x="438" y="551"/>
                  <a:pt x="438" y="551"/>
                </a:cubicBezTo>
                <a:cubicBezTo>
                  <a:pt x="438" y="468"/>
                  <a:pt x="438" y="468"/>
                  <a:pt x="438" y="468"/>
                </a:cubicBezTo>
                <a:cubicBezTo>
                  <a:pt x="517" y="389"/>
                  <a:pt x="517" y="389"/>
                  <a:pt x="517" y="389"/>
                </a:cubicBezTo>
                <a:cubicBezTo>
                  <a:pt x="524" y="381"/>
                  <a:pt x="528" y="372"/>
                  <a:pt x="528" y="362"/>
                </a:cubicBezTo>
                <a:cubicBezTo>
                  <a:pt x="528" y="170"/>
                  <a:pt x="528" y="170"/>
                  <a:pt x="528" y="170"/>
                </a:cubicBezTo>
                <a:cubicBezTo>
                  <a:pt x="528" y="160"/>
                  <a:pt x="523" y="150"/>
                  <a:pt x="516" y="142"/>
                </a:cubicBezTo>
                <a:cubicBezTo>
                  <a:pt x="508" y="134"/>
                  <a:pt x="498" y="131"/>
                  <a:pt x="488" y="131"/>
                </a:cubicBezTo>
                <a:cubicBezTo>
                  <a:pt x="468" y="132"/>
                  <a:pt x="452" y="151"/>
                  <a:pt x="452" y="172"/>
                </a:cubicBezTo>
                <a:cubicBezTo>
                  <a:pt x="452" y="299"/>
                  <a:pt x="452" y="299"/>
                  <a:pt x="452" y="299"/>
                </a:cubicBezTo>
                <a:cubicBezTo>
                  <a:pt x="437" y="289"/>
                  <a:pt x="417" y="291"/>
                  <a:pt x="404" y="304"/>
                </a:cubicBezTo>
                <a:cubicBezTo>
                  <a:pt x="315" y="394"/>
                  <a:pt x="315" y="394"/>
                  <a:pt x="315" y="394"/>
                </a:cubicBezTo>
                <a:cubicBezTo>
                  <a:pt x="308" y="401"/>
                  <a:pt x="304" y="410"/>
                  <a:pt x="304" y="421"/>
                </a:cubicBezTo>
                <a:cubicBezTo>
                  <a:pt x="305" y="532"/>
                  <a:pt x="305" y="549"/>
                  <a:pt x="305" y="551"/>
                </a:cubicBezTo>
                <a:cubicBezTo>
                  <a:pt x="271" y="551"/>
                  <a:pt x="271" y="551"/>
                  <a:pt x="271" y="551"/>
                </a:cubicBezTo>
                <a:cubicBezTo>
                  <a:pt x="272" y="421"/>
                  <a:pt x="272" y="421"/>
                  <a:pt x="272" y="421"/>
                </a:cubicBezTo>
                <a:cubicBezTo>
                  <a:pt x="272" y="410"/>
                  <a:pt x="268" y="401"/>
                  <a:pt x="261" y="394"/>
                </a:cubicBezTo>
                <a:cubicBezTo>
                  <a:pt x="172" y="304"/>
                  <a:pt x="172" y="304"/>
                  <a:pt x="172" y="304"/>
                </a:cubicBezTo>
                <a:cubicBezTo>
                  <a:pt x="159" y="291"/>
                  <a:pt x="139" y="289"/>
                  <a:pt x="124" y="299"/>
                </a:cubicBezTo>
                <a:cubicBezTo>
                  <a:pt x="124" y="172"/>
                  <a:pt x="124" y="172"/>
                  <a:pt x="124" y="172"/>
                </a:cubicBezTo>
                <a:cubicBezTo>
                  <a:pt x="124" y="151"/>
                  <a:pt x="108" y="132"/>
                  <a:pt x="88" y="131"/>
                </a:cubicBezTo>
                <a:cubicBezTo>
                  <a:pt x="78" y="131"/>
                  <a:pt x="68" y="134"/>
                  <a:pt x="60" y="142"/>
                </a:cubicBezTo>
                <a:cubicBezTo>
                  <a:pt x="53" y="150"/>
                  <a:pt x="48" y="160"/>
                  <a:pt x="48" y="170"/>
                </a:cubicBezTo>
                <a:cubicBezTo>
                  <a:pt x="48" y="362"/>
                  <a:pt x="48" y="362"/>
                  <a:pt x="48" y="362"/>
                </a:cubicBezTo>
                <a:cubicBezTo>
                  <a:pt x="48" y="372"/>
                  <a:pt x="52" y="381"/>
                  <a:pt x="59" y="389"/>
                </a:cubicBezTo>
                <a:cubicBezTo>
                  <a:pt x="138" y="468"/>
                  <a:pt x="138" y="468"/>
                  <a:pt x="138" y="468"/>
                </a:cubicBezTo>
                <a:cubicBezTo>
                  <a:pt x="138" y="537"/>
                  <a:pt x="138" y="549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2" y="24"/>
                  <a:pt x="552" y="24"/>
                  <a:pt x="552" y="24"/>
                </a:cubicBezTo>
                <a:lnTo>
                  <a:pt x="552" y="5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endParaRPr sz="933" dirty="0">
              <a:solidFill>
                <a:srgbClr val="D04A02"/>
              </a:solidFill>
              <a:latin typeface="Georgia" panose="02040502050405020303" pitchFamily="18" charset="0"/>
            </a:endParaRPr>
          </a:p>
        </p:txBody>
      </p:sp>
      <p:sp>
        <p:nvSpPr>
          <p:cNvPr id="204" name="Google Shape;9539;p450">
            <a:extLst>
              <a:ext uri="{FF2B5EF4-FFF2-40B4-BE49-F238E27FC236}">
                <a16:creationId xmlns:a16="http://schemas.microsoft.com/office/drawing/2014/main" id="{3F3138DD-FC5C-4BFB-BE33-F4D22614F54D}"/>
              </a:ext>
            </a:extLst>
          </p:cNvPr>
          <p:cNvSpPr/>
          <p:nvPr/>
        </p:nvSpPr>
        <p:spPr>
          <a:xfrm>
            <a:off x="5049178" y="4175316"/>
            <a:ext cx="414528" cy="41452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296" y="326"/>
                </a:moveTo>
                <a:cubicBezTo>
                  <a:pt x="320" y="326"/>
                  <a:pt x="334" y="313"/>
                  <a:pt x="348" y="297"/>
                </a:cubicBezTo>
                <a:cubicBezTo>
                  <a:pt x="366" y="277"/>
                  <a:pt x="375" y="244"/>
                  <a:pt x="375" y="198"/>
                </a:cubicBezTo>
                <a:cubicBezTo>
                  <a:pt x="375" y="150"/>
                  <a:pt x="339" y="112"/>
                  <a:pt x="296" y="112"/>
                </a:cubicBezTo>
                <a:cubicBezTo>
                  <a:pt x="252" y="112"/>
                  <a:pt x="217" y="150"/>
                  <a:pt x="217" y="198"/>
                </a:cubicBezTo>
                <a:cubicBezTo>
                  <a:pt x="217" y="244"/>
                  <a:pt x="226" y="277"/>
                  <a:pt x="243" y="297"/>
                </a:cubicBezTo>
                <a:cubicBezTo>
                  <a:pt x="258" y="313"/>
                  <a:pt x="272" y="326"/>
                  <a:pt x="296" y="326"/>
                </a:cubicBezTo>
                <a:close/>
                <a:moveTo>
                  <a:pt x="296" y="136"/>
                </a:moveTo>
                <a:cubicBezTo>
                  <a:pt x="326" y="136"/>
                  <a:pt x="350" y="164"/>
                  <a:pt x="350" y="198"/>
                </a:cubicBezTo>
                <a:cubicBezTo>
                  <a:pt x="350" y="237"/>
                  <a:pt x="343" y="266"/>
                  <a:pt x="330" y="280"/>
                </a:cubicBezTo>
                <a:cubicBezTo>
                  <a:pt x="315" y="297"/>
                  <a:pt x="308" y="301"/>
                  <a:pt x="296" y="301"/>
                </a:cubicBezTo>
                <a:cubicBezTo>
                  <a:pt x="284" y="301"/>
                  <a:pt x="277" y="297"/>
                  <a:pt x="262" y="280"/>
                </a:cubicBezTo>
                <a:cubicBezTo>
                  <a:pt x="249" y="266"/>
                  <a:pt x="242" y="237"/>
                  <a:pt x="242" y="198"/>
                </a:cubicBezTo>
                <a:cubicBezTo>
                  <a:pt x="242" y="164"/>
                  <a:pt x="266" y="136"/>
                  <a:pt x="296" y="136"/>
                </a:cubicBezTo>
                <a:close/>
                <a:moveTo>
                  <a:pt x="174" y="576"/>
                </a:moveTo>
                <a:cubicBezTo>
                  <a:pt x="172" y="378"/>
                  <a:pt x="172" y="378"/>
                  <a:pt x="172" y="378"/>
                </a:cubicBezTo>
                <a:cubicBezTo>
                  <a:pt x="86" y="148"/>
                  <a:pt x="86" y="148"/>
                  <a:pt x="86" y="148"/>
                </a:cubicBezTo>
                <a:cubicBezTo>
                  <a:pt x="82" y="137"/>
                  <a:pt x="82" y="137"/>
                  <a:pt x="82" y="137"/>
                </a:cubicBezTo>
                <a:cubicBezTo>
                  <a:pt x="82" y="136"/>
                  <a:pt x="82" y="136"/>
                  <a:pt x="82" y="135"/>
                </a:cubicBezTo>
                <a:cubicBezTo>
                  <a:pt x="82" y="135"/>
                  <a:pt x="83" y="134"/>
                  <a:pt x="83" y="134"/>
                </a:cubicBezTo>
                <a:cubicBezTo>
                  <a:pt x="115" y="123"/>
                  <a:pt x="115" y="123"/>
                  <a:pt x="115" y="123"/>
                </a:cubicBezTo>
                <a:cubicBezTo>
                  <a:pt x="117" y="123"/>
                  <a:pt x="118" y="123"/>
                  <a:pt x="118" y="125"/>
                </a:cubicBezTo>
                <a:cubicBezTo>
                  <a:pt x="121" y="132"/>
                  <a:pt x="121" y="132"/>
                  <a:pt x="121" y="132"/>
                </a:cubicBezTo>
                <a:cubicBezTo>
                  <a:pt x="213" y="351"/>
                  <a:pt x="213" y="351"/>
                  <a:pt x="213" y="351"/>
                </a:cubicBezTo>
                <a:cubicBezTo>
                  <a:pt x="213" y="351"/>
                  <a:pt x="213" y="351"/>
                  <a:pt x="213" y="351"/>
                </a:cubicBezTo>
                <a:cubicBezTo>
                  <a:pt x="213" y="351"/>
                  <a:pt x="213" y="351"/>
                  <a:pt x="213" y="351"/>
                </a:cubicBezTo>
                <a:cubicBezTo>
                  <a:pt x="213" y="351"/>
                  <a:pt x="213" y="351"/>
                  <a:pt x="213" y="351"/>
                </a:cubicBezTo>
                <a:cubicBezTo>
                  <a:pt x="213" y="353"/>
                  <a:pt x="215" y="355"/>
                  <a:pt x="217" y="356"/>
                </a:cubicBezTo>
                <a:cubicBezTo>
                  <a:pt x="217" y="356"/>
                  <a:pt x="223" y="360"/>
                  <a:pt x="233" y="365"/>
                </a:cubicBezTo>
                <a:cubicBezTo>
                  <a:pt x="268" y="426"/>
                  <a:pt x="268" y="426"/>
                  <a:pt x="268" y="426"/>
                </a:cubicBezTo>
                <a:cubicBezTo>
                  <a:pt x="263" y="435"/>
                  <a:pt x="261" y="442"/>
                  <a:pt x="261" y="447"/>
                </a:cubicBezTo>
                <a:cubicBezTo>
                  <a:pt x="261" y="467"/>
                  <a:pt x="277" y="482"/>
                  <a:pt x="296" y="482"/>
                </a:cubicBezTo>
                <a:cubicBezTo>
                  <a:pt x="315" y="482"/>
                  <a:pt x="331" y="467"/>
                  <a:pt x="331" y="447"/>
                </a:cubicBezTo>
                <a:cubicBezTo>
                  <a:pt x="331" y="442"/>
                  <a:pt x="328" y="431"/>
                  <a:pt x="324" y="427"/>
                </a:cubicBezTo>
                <a:cubicBezTo>
                  <a:pt x="357" y="367"/>
                  <a:pt x="357" y="367"/>
                  <a:pt x="357" y="367"/>
                </a:cubicBezTo>
                <a:cubicBezTo>
                  <a:pt x="363" y="364"/>
                  <a:pt x="369" y="360"/>
                  <a:pt x="375" y="356"/>
                </a:cubicBezTo>
                <a:cubicBezTo>
                  <a:pt x="377" y="354"/>
                  <a:pt x="378" y="353"/>
                  <a:pt x="379" y="351"/>
                </a:cubicBezTo>
                <a:cubicBezTo>
                  <a:pt x="379" y="351"/>
                  <a:pt x="379" y="351"/>
                  <a:pt x="379" y="351"/>
                </a:cubicBezTo>
                <a:cubicBezTo>
                  <a:pt x="467" y="137"/>
                  <a:pt x="467" y="137"/>
                  <a:pt x="467" y="137"/>
                </a:cubicBezTo>
                <a:cubicBezTo>
                  <a:pt x="468" y="135"/>
                  <a:pt x="468" y="135"/>
                  <a:pt x="468" y="135"/>
                </a:cubicBezTo>
                <a:cubicBezTo>
                  <a:pt x="468" y="135"/>
                  <a:pt x="468" y="135"/>
                  <a:pt x="468" y="135"/>
                </a:cubicBezTo>
                <a:cubicBezTo>
                  <a:pt x="472" y="125"/>
                  <a:pt x="472" y="125"/>
                  <a:pt x="472" y="125"/>
                </a:cubicBezTo>
                <a:cubicBezTo>
                  <a:pt x="472" y="123"/>
                  <a:pt x="474" y="123"/>
                  <a:pt x="475" y="123"/>
                </a:cubicBezTo>
                <a:cubicBezTo>
                  <a:pt x="506" y="135"/>
                  <a:pt x="506" y="135"/>
                  <a:pt x="506" y="135"/>
                </a:cubicBezTo>
                <a:cubicBezTo>
                  <a:pt x="507" y="136"/>
                  <a:pt x="508" y="136"/>
                  <a:pt x="508" y="137"/>
                </a:cubicBezTo>
                <a:cubicBezTo>
                  <a:pt x="508" y="137"/>
                  <a:pt x="508" y="138"/>
                  <a:pt x="508" y="138"/>
                </a:cubicBezTo>
                <a:cubicBezTo>
                  <a:pt x="504" y="149"/>
                  <a:pt x="504" y="149"/>
                  <a:pt x="504" y="149"/>
                </a:cubicBezTo>
                <a:cubicBezTo>
                  <a:pt x="504" y="149"/>
                  <a:pt x="504" y="149"/>
                  <a:pt x="504" y="149"/>
                </a:cubicBezTo>
                <a:cubicBezTo>
                  <a:pt x="405" y="382"/>
                  <a:pt x="405" y="382"/>
                  <a:pt x="405" y="382"/>
                </a:cubicBezTo>
                <a:cubicBezTo>
                  <a:pt x="410" y="576"/>
                  <a:pt x="410" y="576"/>
                  <a:pt x="410" y="576"/>
                </a:cubicBezTo>
                <a:cubicBezTo>
                  <a:pt x="433" y="576"/>
                  <a:pt x="433" y="576"/>
                  <a:pt x="433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76"/>
                  <a:pt x="0" y="576"/>
                  <a:pt x="0" y="576"/>
                </a:cubicBezTo>
                <a:lnTo>
                  <a:pt x="174" y="576"/>
                </a:lnTo>
                <a:close/>
                <a:moveTo>
                  <a:pt x="151" y="553"/>
                </a:moveTo>
                <a:cubicBezTo>
                  <a:pt x="25" y="553"/>
                  <a:pt x="25" y="553"/>
                  <a:pt x="25" y="553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553"/>
                  <a:pt x="551" y="553"/>
                  <a:pt x="551" y="553"/>
                </a:cubicBezTo>
                <a:cubicBezTo>
                  <a:pt x="432" y="553"/>
                  <a:pt x="432" y="553"/>
                  <a:pt x="432" y="553"/>
                </a:cubicBezTo>
                <a:cubicBezTo>
                  <a:pt x="428" y="386"/>
                  <a:pt x="428" y="386"/>
                  <a:pt x="428" y="386"/>
                </a:cubicBezTo>
                <a:cubicBezTo>
                  <a:pt x="524" y="160"/>
                  <a:pt x="524" y="160"/>
                  <a:pt x="524" y="160"/>
                </a:cubicBezTo>
                <a:cubicBezTo>
                  <a:pt x="524" y="159"/>
                  <a:pt x="524" y="158"/>
                  <a:pt x="525" y="157"/>
                </a:cubicBezTo>
                <a:cubicBezTo>
                  <a:pt x="529" y="147"/>
                  <a:pt x="529" y="147"/>
                  <a:pt x="529" y="147"/>
                </a:cubicBezTo>
                <a:cubicBezTo>
                  <a:pt x="531" y="140"/>
                  <a:pt x="531" y="134"/>
                  <a:pt x="528" y="127"/>
                </a:cubicBezTo>
                <a:cubicBezTo>
                  <a:pt x="526" y="121"/>
                  <a:pt x="521" y="117"/>
                  <a:pt x="515" y="114"/>
                </a:cubicBezTo>
                <a:cubicBezTo>
                  <a:pt x="483" y="102"/>
                  <a:pt x="483" y="102"/>
                  <a:pt x="483" y="102"/>
                </a:cubicBezTo>
                <a:cubicBezTo>
                  <a:pt x="477" y="100"/>
                  <a:pt x="470" y="100"/>
                  <a:pt x="464" y="103"/>
                </a:cubicBezTo>
                <a:cubicBezTo>
                  <a:pt x="458" y="105"/>
                  <a:pt x="453" y="110"/>
                  <a:pt x="451" y="116"/>
                </a:cubicBezTo>
                <a:cubicBezTo>
                  <a:pt x="447" y="127"/>
                  <a:pt x="447" y="127"/>
                  <a:pt x="447" y="127"/>
                </a:cubicBezTo>
                <a:cubicBezTo>
                  <a:pt x="447" y="128"/>
                  <a:pt x="446" y="128"/>
                  <a:pt x="446" y="129"/>
                </a:cubicBezTo>
                <a:cubicBezTo>
                  <a:pt x="359" y="339"/>
                  <a:pt x="359" y="339"/>
                  <a:pt x="359" y="339"/>
                </a:cubicBezTo>
                <a:cubicBezTo>
                  <a:pt x="304" y="377"/>
                  <a:pt x="245" y="347"/>
                  <a:pt x="232" y="339"/>
                </a:cubicBezTo>
                <a:cubicBezTo>
                  <a:pt x="142" y="124"/>
                  <a:pt x="142" y="124"/>
                  <a:pt x="142" y="124"/>
                </a:cubicBezTo>
                <a:cubicBezTo>
                  <a:pt x="140" y="117"/>
                  <a:pt x="140" y="117"/>
                  <a:pt x="140" y="117"/>
                </a:cubicBezTo>
                <a:cubicBezTo>
                  <a:pt x="135" y="104"/>
                  <a:pt x="121" y="97"/>
                  <a:pt x="108" y="102"/>
                </a:cubicBezTo>
                <a:cubicBezTo>
                  <a:pt x="76" y="113"/>
                  <a:pt x="76" y="113"/>
                  <a:pt x="76" y="113"/>
                </a:cubicBezTo>
                <a:cubicBezTo>
                  <a:pt x="70" y="115"/>
                  <a:pt x="65" y="120"/>
                  <a:pt x="62" y="125"/>
                </a:cubicBezTo>
                <a:cubicBezTo>
                  <a:pt x="59" y="131"/>
                  <a:pt x="59" y="138"/>
                  <a:pt x="61" y="145"/>
                </a:cubicBezTo>
                <a:cubicBezTo>
                  <a:pt x="64" y="155"/>
                  <a:pt x="64" y="155"/>
                  <a:pt x="64" y="155"/>
                </a:cubicBezTo>
                <a:cubicBezTo>
                  <a:pt x="65" y="156"/>
                  <a:pt x="65" y="156"/>
                  <a:pt x="65" y="156"/>
                </a:cubicBezTo>
                <a:cubicBezTo>
                  <a:pt x="65" y="156"/>
                  <a:pt x="65" y="156"/>
                  <a:pt x="65" y="156"/>
                </a:cubicBezTo>
                <a:cubicBezTo>
                  <a:pt x="149" y="382"/>
                  <a:pt x="149" y="382"/>
                  <a:pt x="149" y="382"/>
                </a:cubicBezTo>
                <a:lnTo>
                  <a:pt x="151" y="553"/>
                </a:lnTo>
                <a:close/>
                <a:moveTo>
                  <a:pt x="296" y="460"/>
                </a:moveTo>
                <a:cubicBezTo>
                  <a:pt x="289" y="460"/>
                  <a:pt x="283" y="454"/>
                  <a:pt x="283" y="447"/>
                </a:cubicBezTo>
                <a:cubicBezTo>
                  <a:pt x="283" y="441"/>
                  <a:pt x="289" y="435"/>
                  <a:pt x="296" y="435"/>
                </a:cubicBezTo>
                <a:cubicBezTo>
                  <a:pt x="303" y="435"/>
                  <a:pt x="309" y="441"/>
                  <a:pt x="309" y="447"/>
                </a:cubicBezTo>
                <a:cubicBezTo>
                  <a:pt x="309" y="454"/>
                  <a:pt x="303" y="460"/>
                  <a:pt x="296" y="460"/>
                </a:cubicBezTo>
                <a:close/>
                <a:moveTo>
                  <a:pt x="297" y="418"/>
                </a:moveTo>
                <a:cubicBezTo>
                  <a:pt x="273" y="378"/>
                  <a:pt x="273" y="378"/>
                  <a:pt x="273" y="378"/>
                </a:cubicBezTo>
                <a:cubicBezTo>
                  <a:pt x="282" y="379"/>
                  <a:pt x="291" y="380"/>
                  <a:pt x="301" y="380"/>
                </a:cubicBezTo>
                <a:cubicBezTo>
                  <a:pt x="307" y="380"/>
                  <a:pt x="313" y="380"/>
                  <a:pt x="319" y="379"/>
                </a:cubicBezTo>
                <a:lnTo>
                  <a:pt x="297" y="41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endParaRPr sz="933" b="1" dirty="0">
              <a:solidFill>
                <a:srgbClr val="D04A02"/>
              </a:solidFill>
              <a:latin typeface="Georgia" panose="02040502050405020303" pitchFamily="18" charset="0"/>
            </a:endParaRPr>
          </a:p>
        </p:txBody>
      </p:sp>
      <p:sp>
        <p:nvSpPr>
          <p:cNvPr id="205" name="Google Shape;9540;p450">
            <a:extLst>
              <a:ext uri="{FF2B5EF4-FFF2-40B4-BE49-F238E27FC236}">
                <a16:creationId xmlns:a16="http://schemas.microsoft.com/office/drawing/2014/main" id="{1D5B39A4-6076-451E-BC22-4D904FDB3DB0}"/>
              </a:ext>
            </a:extLst>
          </p:cNvPr>
          <p:cNvSpPr/>
          <p:nvPr/>
        </p:nvSpPr>
        <p:spPr>
          <a:xfrm>
            <a:off x="5049175" y="4826380"/>
            <a:ext cx="414528" cy="41452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endParaRPr sz="2400" dirty="0">
              <a:latin typeface="Georgia" panose="02040502050405020303" pitchFamily="18" charset="0"/>
            </a:endParaRPr>
          </a:p>
        </p:txBody>
      </p:sp>
      <p:sp>
        <p:nvSpPr>
          <p:cNvPr id="206" name="Google Shape;9533;p450">
            <a:extLst>
              <a:ext uri="{FF2B5EF4-FFF2-40B4-BE49-F238E27FC236}">
                <a16:creationId xmlns:a16="http://schemas.microsoft.com/office/drawing/2014/main" id="{E22653C0-4D0B-4F93-A759-5EDEC454CAE6}"/>
              </a:ext>
            </a:extLst>
          </p:cNvPr>
          <p:cNvSpPr/>
          <p:nvPr/>
        </p:nvSpPr>
        <p:spPr>
          <a:xfrm flipH="1">
            <a:off x="610932" y="5443665"/>
            <a:ext cx="4934058" cy="558400"/>
          </a:xfrm>
          <a:prstGeom prst="snip1Rect">
            <a:avLst>
              <a:gd name="adj" fmla="val 16667"/>
            </a:avLst>
          </a:prstGeom>
          <a:noFill/>
          <a:ln w="9525" cap="flat" cmpd="sng">
            <a:solidFill>
              <a:schemeClr val="accent3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121900" tIns="24367" rIns="121900" bIns="60933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Continually innovate and grow, remain competitive</a:t>
            </a:r>
          </a:p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latin typeface="Georgia" panose="02040502050405020303" pitchFamily="18" charset="0"/>
              </a:rPr>
              <a:t>In the market</a:t>
            </a:r>
            <a:endParaRPr sz="1200" b="1" dirty="0">
              <a:latin typeface="Georgia" panose="02040502050405020303" pitchFamily="18" charset="0"/>
            </a:endParaRPr>
          </a:p>
        </p:txBody>
      </p:sp>
      <p:sp>
        <p:nvSpPr>
          <p:cNvPr id="209" name="Google Shape;8272;p430">
            <a:extLst>
              <a:ext uri="{FF2B5EF4-FFF2-40B4-BE49-F238E27FC236}">
                <a16:creationId xmlns:a16="http://schemas.microsoft.com/office/drawing/2014/main" id="{BDFC0B4C-A424-431C-B80A-7E600D559251}"/>
              </a:ext>
            </a:extLst>
          </p:cNvPr>
          <p:cNvSpPr/>
          <p:nvPr/>
        </p:nvSpPr>
        <p:spPr>
          <a:xfrm>
            <a:off x="849539" y="1886405"/>
            <a:ext cx="297200" cy="236800"/>
          </a:xfrm>
          <a:prstGeom prst="rect">
            <a:avLst/>
          </a:prstGeom>
          <a:solidFill>
            <a:srgbClr val="E0301E"/>
          </a:solidFill>
          <a:ln w="9525" cap="flat" cmpd="sng">
            <a:solidFill>
              <a:srgbClr val="E0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sp>
        <p:nvSpPr>
          <p:cNvPr id="210" name="Google Shape;8335;p430">
            <a:extLst>
              <a:ext uri="{FF2B5EF4-FFF2-40B4-BE49-F238E27FC236}">
                <a16:creationId xmlns:a16="http://schemas.microsoft.com/office/drawing/2014/main" id="{1DE71599-0581-4B4C-9C76-78FEB668DA5A}"/>
              </a:ext>
            </a:extLst>
          </p:cNvPr>
          <p:cNvSpPr/>
          <p:nvPr/>
        </p:nvSpPr>
        <p:spPr>
          <a:xfrm>
            <a:off x="954550" y="1961164"/>
            <a:ext cx="87200" cy="872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1867" dirty="0">
              <a:latin typeface="Georgia" panose="02040502050405020303" pitchFamily="18" charset="0"/>
            </a:endParaRPr>
          </a:p>
        </p:txBody>
      </p: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F1FFAF03-00C8-415F-8AE7-7DDF8774D12A}"/>
              </a:ext>
            </a:extLst>
          </p:cNvPr>
          <p:cNvGrpSpPr/>
          <p:nvPr/>
        </p:nvGrpSpPr>
        <p:grpSpPr>
          <a:xfrm>
            <a:off x="5714301" y="3792948"/>
            <a:ext cx="1358487" cy="638651"/>
            <a:chOff x="464738" y="4822117"/>
            <a:chExt cx="1649412" cy="1046162"/>
          </a:xfrm>
          <a:solidFill>
            <a:schemeClr val="tx1"/>
          </a:solidFill>
        </p:grpSpPr>
        <p:sp>
          <p:nvSpPr>
            <p:cNvPr id="212" name="Freeform 40">
              <a:extLst>
                <a:ext uri="{FF2B5EF4-FFF2-40B4-BE49-F238E27FC236}">
                  <a16:creationId xmlns:a16="http://schemas.microsoft.com/office/drawing/2014/main" id="{96907CCD-51F4-4EF4-9FD6-84F7F6FA8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63" y="4918954"/>
              <a:ext cx="1406525" cy="892175"/>
            </a:xfrm>
            <a:custGeom>
              <a:avLst/>
              <a:gdLst/>
              <a:ahLst/>
              <a:cxnLst>
                <a:cxn ang="0">
                  <a:pos x="484" y="269"/>
                </a:cxn>
                <a:cxn ang="0">
                  <a:pos x="363" y="267"/>
                </a:cxn>
                <a:cxn ang="0">
                  <a:pos x="371" y="320"/>
                </a:cxn>
                <a:cxn ang="0">
                  <a:pos x="367" y="329"/>
                </a:cxn>
                <a:cxn ang="0">
                  <a:pos x="278" y="323"/>
                </a:cxn>
                <a:cxn ang="0">
                  <a:pos x="269" y="299"/>
                </a:cxn>
                <a:cxn ang="0">
                  <a:pos x="243" y="302"/>
                </a:cxn>
                <a:cxn ang="0">
                  <a:pos x="237" y="306"/>
                </a:cxn>
                <a:cxn ang="0">
                  <a:pos x="233" y="303"/>
                </a:cxn>
                <a:cxn ang="0">
                  <a:pos x="234" y="299"/>
                </a:cxn>
                <a:cxn ang="0">
                  <a:pos x="228" y="270"/>
                </a:cxn>
                <a:cxn ang="0">
                  <a:pos x="216" y="265"/>
                </a:cxn>
                <a:cxn ang="0">
                  <a:pos x="199" y="268"/>
                </a:cxn>
                <a:cxn ang="0">
                  <a:pos x="185" y="276"/>
                </a:cxn>
                <a:cxn ang="0">
                  <a:pos x="181" y="273"/>
                </a:cxn>
                <a:cxn ang="0">
                  <a:pos x="184" y="265"/>
                </a:cxn>
                <a:cxn ang="0">
                  <a:pos x="179" y="234"/>
                </a:cxn>
                <a:cxn ang="0">
                  <a:pos x="148" y="233"/>
                </a:cxn>
                <a:cxn ang="0">
                  <a:pos x="137" y="238"/>
                </a:cxn>
                <a:cxn ang="0">
                  <a:pos x="133" y="235"/>
                </a:cxn>
                <a:cxn ang="0">
                  <a:pos x="134" y="233"/>
                </a:cxn>
                <a:cxn ang="0">
                  <a:pos x="139" y="215"/>
                </a:cxn>
                <a:cxn ang="0">
                  <a:pos x="135" y="201"/>
                </a:cxn>
                <a:cxn ang="0">
                  <a:pos x="135" y="201"/>
                </a:cxn>
                <a:cxn ang="0">
                  <a:pos x="104" y="195"/>
                </a:cxn>
                <a:cxn ang="0">
                  <a:pos x="69" y="213"/>
                </a:cxn>
                <a:cxn ang="0">
                  <a:pos x="8" y="173"/>
                </a:cxn>
                <a:cxn ang="0">
                  <a:pos x="80" y="24"/>
                </a:cxn>
                <a:cxn ang="0">
                  <a:pos x="135" y="39"/>
                </a:cxn>
                <a:cxn ang="0">
                  <a:pos x="262" y="18"/>
                </a:cxn>
                <a:cxn ang="0">
                  <a:pos x="271" y="134"/>
                </a:cxn>
                <a:cxn ang="0">
                  <a:pos x="355" y="130"/>
                </a:cxn>
                <a:cxn ang="0">
                  <a:pos x="496" y="257"/>
                </a:cxn>
              </a:cxnLst>
              <a:rect l="0" t="0" r="r" b="b"/>
              <a:pathLst>
                <a:path w="549" h="348">
                  <a:moveTo>
                    <a:pt x="410" y="238"/>
                  </a:moveTo>
                  <a:cubicBezTo>
                    <a:pt x="426" y="253"/>
                    <a:pt x="450" y="262"/>
                    <a:pt x="484" y="269"/>
                  </a:cubicBezTo>
                  <a:cubicBezTo>
                    <a:pt x="473" y="282"/>
                    <a:pt x="450" y="295"/>
                    <a:pt x="428" y="294"/>
                  </a:cubicBezTo>
                  <a:cubicBezTo>
                    <a:pt x="405" y="292"/>
                    <a:pt x="381" y="278"/>
                    <a:pt x="363" y="267"/>
                  </a:cubicBezTo>
                  <a:cubicBezTo>
                    <a:pt x="374" y="285"/>
                    <a:pt x="400" y="297"/>
                    <a:pt x="421" y="305"/>
                  </a:cubicBezTo>
                  <a:cubicBezTo>
                    <a:pt x="408" y="317"/>
                    <a:pt x="388" y="325"/>
                    <a:pt x="371" y="320"/>
                  </a:cubicBezTo>
                  <a:cubicBezTo>
                    <a:pt x="350" y="313"/>
                    <a:pt x="336" y="308"/>
                    <a:pt x="317" y="298"/>
                  </a:cubicBezTo>
                  <a:cubicBezTo>
                    <a:pt x="332" y="313"/>
                    <a:pt x="347" y="324"/>
                    <a:pt x="367" y="329"/>
                  </a:cubicBezTo>
                  <a:cubicBezTo>
                    <a:pt x="334" y="348"/>
                    <a:pt x="276" y="347"/>
                    <a:pt x="278" y="329"/>
                  </a:cubicBezTo>
                  <a:cubicBezTo>
                    <a:pt x="278" y="327"/>
                    <a:pt x="278" y="325"/>
                    <a:pt x="278" y="323"/>
                  </a:cubicBezTo>
                  <a:cubicBezTo>
                    <a:pt x="279" y="318"/>
                    <a:pt x="278" y="312"/>
                    <a:pt x="277" y="308"/>
                  </a:cubicBezTo>
                  <a:cubicBezTo>
                    <a:pt x="275" y="304"/>
                    <a:pt x="273" y="301"/>
                    <a:pt x="269" y="299"/>
                  </a:cubicBezTo>
                  <a:cubicBezTo>
                    <a:pt x="265" y="296"/>
                    <a:pt x="261" y="296"/>
                    <a:pt x="257" y="296"/>
                  </a:cubicBezTo>
                  <a:cubicBezTo>
                    <a:pt x="253" y="297"/>
                    <a:pt x="248" y="299"/>
                    <a:pt x="243" y="302"/>
                  </a:cubicBezTo>
                  <a:cubicBezTo>
                    <a:pt x="242" y="302"/>
                    <a:pt x="241" y="303"/>
                    <a:pt x="240" y="304"/>
                  </a:cubicBezTo>
                  <a:cubicBezTo>
                    <a:pt x="239" y="304"/>
                    <a:pt x="238" y="305"/>
                    <a:pt x="237" y="306"/>
                  </a:cubicBezTo>
                  <a:cubicBezTo>
                    <a:pt x="230" y="312"/>
                    <a:pt x="230" y="312"/>
                    <a:pt x="230" y="312"/>
                  </a:cubicBezTo>
                  <a:cubicBezTo>
                    <a:pt x="233" y="303"/>
                    <a:pt x="233" y="303"/>
                    <a:pt x="233" y="303"/>
                  </a:cubicBezTo>
                  <a:cubicBezTo>
                    <a:pt x="233" y="302"/>
                    <a:pt x="233" y="301"/>
                    <a:pt x="233" y="301"/>
                  </a:cubicBezTo>
                  <a:cubicBezTo>
                    <a:pt x="233" y="300"/>
                    <a:pt x="234" y="299"/>
                    <a:pt x="234" y="299"/>
                  </a:cubicBezTo>
                  <a:cubicBezTo>
                    <a:pt x="235" y="292"/>
                    <a:pt x="236" y="286"/>
                    <a:pt x="235" y="281"/>
                  </a:cubicBezTo>
                  <a:cubicBezTo>
                    <a:pt x="234" y="277"/>
                    <a:pt x="232" y="273"/>
                    <a:pt x="228" y="270"/>
                  </a:cubicBezTo>
                  <a:cubicBezTo>
                    <a:pt x="227" y="269"/>
                    <a:pt x="227" y="269"/>
                    <a:pt x="227" y="269"/>
                  </a:cubicBezTo>
                  <a:cubicBezTo>
                    <a:pt x="224" y="266"/>
                    <a:pt x="220" y="265"/>
                    <a:pt x="216" y="265"/>
                  </a:cubicBezTo>
                  <a:cubicBezTo>
                    <a:pt x="211" y="265"/>
                    <a:pt x="205" y="266"/>
                    <a:pt x="200" y="268"/>
                  </a:cubicBezTo>
                  <a:cubicBezTo>
                    <a:pt x="199" y="268"/>
                    <a:pt x="199" y="268"/>
                    <a:pt x="199" y="268"/>
                  </a:cubicBezTo>
                  <a:cubicBezTo>
                    <a:pt x="196" y="269"/>
                    <a:pt x="194" y="270"/>
                    <a:pt x="192" y="272"/>
                  </a:cubicBezTo>
                  <a:cubicBezTo>
                    <a:pt x="189" y="273"/>
                    <a:pt x="187" y="274"/>
                    <a:pt x="185" y="276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81" y="273"/>
                    <a:pt x="181" y="273"/>
                    <a:pt x="181" y="273"/>
                  </a:cubicBezTo>
                  <a:cubicBezTo>
                    <a:pt x="181" y="271"/>
                    <a:pt x="182" y="270"/>
                    <a:pt x="182" y="269"/>
                  </a:cubicBezTo>
                  <a:cubicBezTo>
                    <a:pt x="183" y="268"/>
                    <a:pt x="183" y="267"/>
                    <a:pt x="184" y="265"/>
                  </a:cubicBezTo>
                  <a:cubicBezTo>
                    <a:pt x="186" y="259"/>
                    <a:pt x="187" y="252"/>
                    <a:pt x="186" y="247"/>
                  </a:cubicBezTo>
                  <a:cubicBezTo>
                    <a:pt x="185" y="242"/>
                    <a:pt x="183" y="238"/>
                    <a:pt x="179" y="234"/>
                  </a:cubicBezTo>
                  <a:cubicBezTo>
                    <a:pt x="176" y="231"/>
                    <a:pt x="171" y="229"/>
                    <a:pt x="166" y="229"/>
                  </a:cubicBezTo>
                  <a:cubicBezTo>
                    <a:pt x="161" y="229"/>
                    <a:pt x="155" y="230"/>
                    <a:pt x="148" y="233"/>
                  </a:cubicBezTo>
                  <a:cubicBezTo>
                    <a:pt x="146" y="233"/>
                    <a:pt x="144" y="234"/>
                    <a:pt x="143" y="235"/>
                  </a:cubicBezTo>
                  <a:cubicBezTo>
                    <a:pt x="141" y="236"/>
                    <a:pt x="139" y="237"/>
                    <a:pt x="137" y="238"/>
                  </a:cubicBezTo>
                  <a:cubicBezTo>
                    <a:pt x="128" y="244"/>
                    <a:pt x="128" y="244"/>
                    <a:pt x="128" y="244"/>
                  </a:cubicBezTo>
                  <a:cubicBezTo>
                    <a:pt x="133" y="235"/>
                    <a:pt x="133" y="235"/>
                    <a:pt x="133" y="235"/>
                  </a:cubicBezTo>
                  <a:cubicBezTo>
                    <a:pt x="133" y="234"/>
                    <a:pt x="134" y="234"/>
                    <a:pt x="134" y="234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4" y="233"/>
                    <a:pt x="134" y="233"/>
                    <a:pt x="134" y="233"/>
                  </a:cubicBezTo>
                  <a:cubicBezTo>
                    <a:pt x="137" y="227"/>
                    <a:pt x="139" y="220"/>
                    <a:pt x="139" y="215"/>
                  </a:cubicBezTo>
                  <a:cubicBezTo>
                    <a:pt x="139" y="210"/>
                    <a:pt x="138" y="205"/>
                    <a:pt x="135" y="201"/>
                  </a:cubicBezTo>
                  <a:cubicBezTo>
                    <a:pt x="135" y="201"/>
                    <a:pt x="135" y="201"/>
                    <a:pt x="135" y="201"/>
                  </a:cubicBezTo>
                  <a:cubicBezTo>
                    <a:pt x="135" y="201"/>
                    <a:pt x="135" y="201"/>
                    <a:pt x="135" y="201"/>
                  </a:cubicBezTo>
                  <a:cubicBezTo>
                    <a:pt x="135" y="201"/>
                    <a:pt x="135" y="201"/>
                    <a:pt x="135" y="201"/>
                  </a:cubicBezTo>
                  <a:cubicBezTo>
                    <a:pt x="132" y="197"/>
                    <a:pt x="128" y="195"/>
                    <a:pt x="123" y="194"/>
                  </a:cubicBezTo>
                  <a:cubicBezTo>
                    <a:pt x="117" y="193"/>
                    <a:pt x="111" y="193"/>
                    <a:pt x="104" y="195"/>
                  </a:cubicBezTo>
                  <a:cubicBezTo>
                    <a:pt x="98" y="197"/>
                    <a:pt x="92" y="199"/>
                    <a:pt x="86" y="202"/>
                  </a:cubicBezTo>
                  <a:cubicBezTo>
                    <a:pt x="80" y="205"/>
                    <a:pt x="74" y="209"/>
                    <a:pt x="69" y="213"/>
                  </a:cubicBezTo>
                  <a:cubicBezTo>
                    <a:pt x="69" y="213"/>
                    <a:pt x="69" y="213"/>
                    <a:pt x="69" y="213"/>
                  </a:cubicBezTo>
                  <a:cubicBezTo>
                    <a:pt x="53" y="224"/>
                    <a:pt x="35" y="184"/>
                    <a:pt x="8" y="173"/>
                  </a:cubicBezTo>
                  <a:cubicBezTo>
                    <a:pt x="3" y="171"/>
                    <a:pt x="0" y="165"/>
                    <a:pt x="2" y="160"/>
                  </a:cubicBezTo>
                  <a:cubicBezTo>
                    <a:pt x="20" y="111"/>
                    <a:pt x="45" y="60"/>
                    <a:pt x="80" y="24"/>
                  </a:cubicBezTo>
                  <a:cubicBezTo>
                    <a:pt x="86" y="18"/>
                    <a:pt x="92" y="18"/>
                    <a:pt x="99" y="23"/>
                  </a:cubicBezTo>
                  <a:cubicBezTo>
                    <a:pt x="112" y="32"/>
                    <a:pt x="127" y="39"/>
                    <a:pt x="135" y="39"/>
                  </a:cubicBezTo>
                  <a:cubicBezTo>
                    <a:pt x="170" y="38"/>
                    <a:pt x="203" y="0"/>
                    <a:pt x="222" y="2"/>
                  </a:cubicBezTo>
                  <a:cubicBezTo>
                    <a:pt x="235" y="4"/>
                    <a:pt x="248" y="15"/>
                    <a:pt x="262" y="18"/>
                  </a:cubicBezTo>
                  <a:cubicBezTo>
                    <a:pt x="243" y="68"/>
                    <a:pt x="228" y="85"/>
                    <a:pt x="188" y="111"/>
                  </a:cubicBezTo>
                  <a:cubicBezTo>
                    <a:pt x="202" y="145"/>
                    <a:pt x="240" y="159"/>
                    <a:pt x="271" y="134"/>
                  </a:cubicBezTo>
                  <a:cubicBezTo>
                    <a:pt x="283" y="125"/>
                    <a:pt x="296" y="108"/>
                    <a:pt x="309" y="104"/>
                  </a:cubicBezTo>
                  <a:cubicBezTo>
                    <a:pt x="321" y="100"/>
                    <a:pt x="334" y="116"/>
                    <a:pt x="355" y="130"/>
                  </a:cubicBezTo>
                  <a:cubicBezTo>
                    <a:pt x="412" y="167"/>
                    <a:pt x="482" y="198"/>
                    <a:pt x="549" y="211"/>
                  </a:cubicBezTo>
                  <a:cubicBezTo>
                    <a:pt x="544" y="236"/>
                    <a:pt x="521" y="258"/>
                    <a:pt x="496" y="257"/>
                  </a:cubicBezTo>
                  <a:cubicBezTo>
                    <a:pt x="469" y="256"/>
                    <a:pt x="436" y="249"/>
                    <a:pt x="410" y="2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3" name="Freeform 41">
              <a:extLst>
                <a:ext uri="{FF2B5EF4-FFF2-40B4-BE49-F238E27FC236}">
                  <a16:creationId xmlns:a16="http://schemas.microsoft.com/office/drawing/2014/main" id="{070ED9CE-50A2-47C9-AB23-A98531AE8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325" y="4822117"/>
              <a:ext cx="377825" cy="604838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35" y="53"/>
                </a:cxn>
                <a:cxn ang="0">
                  <a:pos x="118" y="193"/>
                </a:cxn>
                <a:cxn ang="0">
                  <a:pos x="105" y="236"/>
                </a:cxn>
                <a:cxn ang="0">
                  <a:pos x="147" y="208"/>
                </a:cxn>
                <a:cxn ang="0">
                  <a:pos x="57" y="14"/>
                </a:cxn>
                <a:cxn ang="0">
                  <a:pos x="0" y="53"/>
                </a:cxn>
              </a:cxnLst>
              <a:rect l="0" t="0" r="r" b="b"/>
              <a:pathLst>
                <a:path w="147" h="236">
                  <a:moveTo>
                    <a:pt x="0" y="53"/>
                  </a:moveTo>
                  <a:cubicBezTo>
                    <a:pt x="16" y="45"/>
                    <a:pt x="23" y="42"/>
                    <a:pt x="35" y="53"/>
                  </a:cubicBezTo>
                  <a:cubicBezTo>
                    <a:pt x="77" y="98"/>
                    <a:pt x="99" y="137"/>
                    <a:pt x="118" y="193"/>
                  </a:cubicBezTo>
                  <a:cubicBezTo>
                    <a:pt x="124" y="211"/>
                    <a:pt x="122" y="226"/>
                    <a:pt x="105" y="236"/>
                  </a:cubicBezTo>
                  <a:cubicBezTo>
                    <a:pt x="130" y="234"/>
                    <a:pt x="147" y="225"/>
                    <a:pt x="147" y="208"/>
                  </a:cubicBezTo>
                  <a:cubicBezTo>
                    <a:pt x="144" y="137"/>
                    <a:pt x="111" y="57"/>
                    <a:pt x="57" y="14"/>
                  </a:cubicBezTo>
                  <a:cubicBezTo>
                    <a:pt x="40" y="0"/>
                    <a:pt x="2" y="33"/>
                    <a:pt x="0" y="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4" name="Freeform 42">
              <a:extLst>
                <a:ext uri="{FF2B5EF4-FFF2-40B4-BE49-F238E27FC236}">
                  <a16:creationId xmlns:a16="http://schemas.microsoft.com/office/drawing/2014/main" id="{7A6926BC-5746-4EE6-894D-364C2DE40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925" y="4896729"/>
              <a:ext cx="954088" cy="534988"/>
            </a:xfrm>
            <a:custGeom>
              <a:avLst/>
              <a:gdLst/>
              <a:ahLst/>
              <a:cxnLst>
                <a:cxn ang="0">
                  <a:pos x="297" y="197"/>
                </a:cxn>
                <a:cxn ang="0">
                  <a:pos x="254" y="179"/>
                </a:cxn>
                <a:cxn ang="0">
                  <a:pos x="247" y="175"/>
                </a:cxn>
                <a:cxn ang="0">
                  <a:pos x="255" y="173"/>
                </a:cxn>
                <a:cxn ang="0">
                  <a:pos x="276" y="165"/>
                </a:cxn>
                <a:cxn ang="0">
                  <a:pos x="285" y="155"/>
                </a:cxn>
                <a:cxn ang="0">
                  <a:pos x="229" y="160"/>
                </a:cxn>
                <a:cxn ang="0">
                  <a:pos x="146" y="115"/>
                </a:cxn>
                <a:cxn ang="0">
                  <a:pos x="86" y="114"/>
                </a:cxn>
                <a:cxn ang="0">
                  <a:pos x="0" y="123"/>
                </a:cxn>
                <a:cxn ang="0">
                  <a:pos x="42" y="85"/>
                </a:cxn>
                <a:cxn ang="0">
                  <a:pos x="74" y="24"/>
                </a:cxn>
                <a:cxn ang="0">
                  <a:pos x="75" y="23"/>
                </a:cxn>
                <a:cxn ang="0">
                  <a:pos x="92" y="3"/>
                </a:cxn>
                <a:cxn ang="0">
                  <a:pos x="118" y="3"/>
                </a:cxn>
                <a:cxn ang="0">
                  <a:pos x="118" y="3"/>
                </a:cxn>
                <a:cxn ang="0">
                  <a:pos x="119" y="4"/>
                </a:cxn>
                <a:cxn ang="0">
                  <a:pos x="128" y="8"/>
                </a:cxn>
                <a:cxn ang="0">
                  <a:pos x="232" y="31"/>
                </a:cxn>
                <a:cxn ang="0">
                  <a:pos x="247" y="34"/>
                </a:cxn>
                <a:cxn ang="0">
                  <a:pos x="301" y="47"/>
                </a:cxn>
                <a:cxn ang="0">
                  <a:pos x="337" y="100"/>
                </a:cxn>
                <a:cxn ang="0">
                  <a:pos x="362" y="149"/>
                </a:cxn>
                <a:cxn ang="0">
                  <a:pos x="363" y="194"/>
                </a:cxn>
                <a:cxn ang="0">
                  <a:pos x="363" y="194"/>
                </a:cxn>
                <a:cxn ang="0">
                  <a:pos x="355" y="202"/>
                </a:cxn>
                <a:cxn ang="0">
                  <a:pos x="347" y="209"/>
                </a:cxn>
                <a:cxn ang="0">
                  <a:pos x="346" y="209"/>
                </a:cxn>
                <a:cxn ang="0">
                  <a:pos x="345" y="209"/>
                </a:cxn>
                <a:cxn ang="0">
                  <a:pos x="297" y="197"/>
                </a:cxn>
              </a:cxnLst>
              <a:rect l="0" t="0" r="r" b="b"/>
              <a:pathLst>
                <a:path w="372" h="209">
                  <a:moveTo>
                    <a:pt x="297" y="197"/>
                  </a:moveTo>
                  <a:cubicBezTo>
                    <a:pt x="282" y="192"/>
                    <a:pt x="268" y="186"/>
                    <a:pt x="254" y="179"/>
                  </a:cubicBezTo>
                  <a:cubicBezTo>
                    <a:pt x="247" y="175"/>
                    <a:pt x="247" y="175"/>
                    <a:pt x="247" y="175"/>
                  </a:cubicBezTo>
                  <a:cubicBezTo>
                    <a:pt x="255" y="173"/>
                    <a:pt x="255" y="173"/>
                    <a:pt x="255" y="173"/>
                  </a:cubicBezTo>
                  <a:cubicBezTo>
                    <a:pt x="264" y="172"/>
                    <a:pt x="271" y="169"/>
                    <a:pt x="276" y="165"/>
                  </a:cubicBezTo>
                  <a:cubicBezTo>
                    <a:pt x="280" y="162"/>
                    <a:pt x="283" y="158"/>
                    <a:pt x="285" y="155"/>
                  </a:cubicBezTo>
                  <a:cubicBezTo>
                    <a:pt x="262" y="165"/>
                    <a:pt x="244" y="165"/>
                    <a:pt x="229" y="160"/>
                  </a:cubicBezTo>
                  <a:cubicBezTo>
                    <a:pt x="202" y="151"/>
                    <a:pt x="177" y="138"/>
                    <a:pt x="146" y="115"/>
                  </a:cubicBezTo>
                  <a:cubicBezTo>
                    <a:pt x="127" y="101"/>
                    <a:pt x="106" y="88"/>
                    <a:pt x="86" y="114"/>
                  </a:cubicBezTo>
                  <a:cubicBezTo>
                    <a:pt x="66" y="140"/>
                    <a:pt x="21" y="163"/>
                    <a:pt x="0" y="123"/>
                  </a:cubicBezTo>
                  <a:cubicBezTo>
                    <a:pt x="17" y="114"/>
                    <a:pt x="30" y="101"/>
                    <a:pt x="42" y="85"/>
                  </a:cubicBezTo>
                  <a:cubicBezTo>
                    <a:pt x="55" y="68"/>
                    <a:pt x="66" y="46"/>
                    <a:pt x="74" y="24"/>
                  </a:cubicBezTo>
                  <a:cubicBezTo>
                    <a:pt x="75" y="24"/>
                    <a:pt x="75" y="23"/>
                    <a:pt x="75" y="23"/>
                  </a:cubicBezTo>
                  <a:cubicBezTo>
                    <a:pt x="79" y="13"/>
                    <a:pt x="85" y="6"/>
                    <a:pt x="92" y="3"/>
                  </a:cubicBezTo>
                  <a:cubicBezTo>
                    <a:pt x="99" y="0"/>
                    <a:pt x="108" y="0"/>
                    <a:pt x="118" y="3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8" y="4"/>
                    <a:pt x="119" y="4"/>
                    <a:pt x="119" y="4"/>
                  </a:cubicBezTo>
                  <a:cubicBezTo>
                    <a:pt x="122" y="5"/>
                    <a:pt x="125" y="7"/>
                    <a:pt x="128" y="8"/>
                  </a:cubicBezTo>
                  <a:cubicBezTo>
                    <a:pt x="167" y="24"/>
                    <a:pt x="205" y="13"/>
                    <a:pt x="232" y="31"/>
                  </a:cubicBezTo>
                  <a:cubicBezTo>
                    <a:pt x="235" y="33"/>
                    <a:pt x="241" y="36"/>
                    <a:pt x="247" y="34"/>
                  </a:cubicBezTo>
                  <a:cubicBezTo>
                    <a:pt x="275" y="22"/>
                    <a:pt x="281" y="23"/>
                    <a:pt x="301" y="47"/>
                  </a:cubicBezTo>
                  <a:cubicBezTo>
                    <a:pt x="314" y="63"/>
                    <a:pt x="326" y="81"/>
                    <a:pt x="337" y="100"/>
                  </a:cubicBezTo>
                  <a:cubicBezTo>
                    <a:pt x="344" y="112"/>
                    <a:pt x="355" y="131"/>
                    <a:pt x="362" y="149"/>
                  </a:cubicBezTo>
                  <a:cubicBezTo>
                    <a:pt x="369" y="168"/>
                    <a:pt x="372" y="186"/>
                    <a:pt x="363" y="194"/>
                  </a:cubicBezTo>
                  <a:cubicBezTo>
                    <a:pt x="363" y="194"/>
                    <a:pt x="363" y="194"/>
                    <a:pt x="363" y="194"/>
                  </a:cubicBezTo>
                  <a:cubicBezTo>
                    <a:pt x="361" y="197"/>
                    <a:pt x="358" y="200"/>
                    <a:pt x="355" y="202"/>
                  </a:cubicBezTo>
                  <a:cubicBezTo>
                    <a:pt x="352" y="204"/>
                    <a:pt x="350" y="207"/>
                    <a:pt x="347" y="209"/>
                  </a:cubicBezTo>
                  <a:cubicBezTo>
                    <a:pt x="346" y="209"/>
                    <a:pt x="346" y="209"/>
                    <a:pt x="346" y="209"/>
                  </a:cubicBezTo>
                  <a:cubicBezTo>
                    <a:pt x="345" y="209"/>
                    <a:pt x="345" y="209"/>
                    <a:pt x="345" y="209"/>
                  </a:cubicBezTo>
                  <a:cubicBezTo>
                    <a:pt x="329" y="206"/>
                    <a:pt x="313" y="202"/>
                    <a:pt x="297" y="19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5" name="Freeform 43">
              <a:extLst>
                <a:ext uri="{FF2B5EF4-FFF2-40B4-BE49-F238E27FC236}">
                  <a16:creationId xmlns:a16="http://schemas.microsoft.com/office/drawing/2014/main" id="{86D11879-6DAF-41DA-8E88-2BA49B01B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38" y="4822117"/>
              <a:ext cx="373063" cy="595313"/>
            </a:xfrm>
            <a:custGeom>
              <a:avLst/>
              <a:gdLst/>
              <a:ahLst/>
              <a:cxnLst>
                <a:cxn ang="0">
                  <a:pos x="145" y="53"/>
                </a:cxn>
                <a:cxn ang="0">
                  <a:pos x="111" y="53"/>
                </a:cxn>
                <a:cxn ang="0">
                  <a:pos x="29" y="187"/>
                </a:cxn>
                <a:cxn ang="0">
                  <a:pos x="40" y="232"/>
                </a:cxn>
                <a:cxn ang="0">
                  <a:pos x="1" y="202"/>
                </a:cxn>
                <a:cxn ang="0">
                  <a:pos x="88" y="14"/>
                </a:cxn>
                <a:cxn ang="0">
                  <a:pos x="145" y="53"/>
                </a:cxn>
              </a:cxnLst>
              <a:rect l="0" t="0" r="r" b="b"/>
              <a:pathLst>
                <a:path w="145" h="232">
                  <a:moveTo>
                    <a:pt x="145" y="53"/>
                  </a:moveTo>
                  <a:cubicBezTo>
                    <a:pt x="130" y="45"/>
                    <a:pt x="122" y="42"/>
                    <a:pt x="111" y="53"/>
                  </a:cubicBezTo>
                  <a:cubicBezTo>
                    <a:pt x="69" y="98"/>
                    <a:pt x="49" y="131"/>
                    <a:pt x="29" y="187"/>
                  </a:cubicBezTo>
                  <a:cubicBezTo>
                    <a:pt x="23" y="205"/>
                    <a:pt x="22" y="221"/>
                    <a:pt x="40" y="232"/>
                  </a:cubicBezTo>
                  <a:cubicBezTo>
                    <a:pt x="14" y="229"/>
                    <a:pt x="0" y="219"/>
                    <a:pt x="1" y="202"/>
                  </a:cubicBezTo>
                  <a:cubicBezTo>
                    <a:pt x="3" y="131"/>
                    <a:pt x="35" y="57"/>
                    <a:pt x="88" y="14"/>
                  </a:cubicBezTo>
                  <a:cubicBezTo>
                    <a:pt x="106" y="0"/>
                    <a:pt x="144" y="33"/>
                    <a:pt x="145" y="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6" name="Freeform 44">
              <a:extLst>
                <a:ext uri="{FF2B5EF4-FFF2-40B4-BE49-F238E27FC236}">
                  <a16:creationId xmlns:a16="http://schemas.microsoft.com/office/drawing/2014/main" id="{FB5908ED-DBEF-4D0E-B1AA-5FEB7D234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963" y="5719054"/>
              <a:ext cx="128588" cy="149225"/>
            </a:xfrm>
            <a:custGeom>
              <a:avLst/>
              <a:gdLst/>
              <a:ahLst/>
              <a:cxnLst>
                <a:cxn ang="0">
                  <a:pos x="47" y="26"/>
                </a:cxn>
                <a:cxn ang="0">
                  <a:pos x="40" y="41"/>
                </a:cxn>
                <a:cxn ang="0">
                  <a:pos x="40" y="41"/>
                </a:cxn>
                <a:cxn ang="0">
                  <a:pos x="40" y="41"/>
                </a:cxn>
                <a:cxn ang="0">
                  <a:pos x="39" y="41"/>
                </a:cxn>
                <a:cxn ang="0">
                  <a:pos x="38" y="43"/>
                </a:cxn>
                <a:cxn ang="0">
                  <a:pos x="38" y="43"/>
                </a:cxn>
                <a:cxn ang="0">
                  <a:pos x="32" y="51"/>
                </a:cxn>
                <a:cxn ang="0">
                  <a:pos x="24" y="57"/>
                </a:cxn>
                <a:cxn ang="0">
                  <a:pos x="17" y="57"/>
                </a:cxn>
                <a:cxn ang="0">
                  <a:pos x="10" y="55"/>
                </a:cxn>
                <a:cxn ang="0">
                  <a:pos x="10" y="55"/>
                </a:cxn>
                <a:cxn ang="0">
                  <a:pos x="10" y="55"/>
                </a:cxn>
                <a:cxn ang="0">
                  <a:pos x="10" y="55"/>
                </a:cxn>
                <a:cxn ang="0">
                  <a:pos x="9" y="55"/>
                </a:cxn>
                <a:cxn ang="0">
                  <a:pos x="9" y="54"/>
                </a:cxn>
                <a:cxn ang="0">
                  <a:pos x="4" y="49"/>
                </a:cxn>
                <a:cxn ang="0">
                  <a:pos x="1" y="43"/>
                </a:cxn>
                <a:cxn ang="0">
                  <a:pos x="1" y="43"/>
                </a:cxn>
                <a:cxn ang="0">
                  <a:pos x="24" y="7"/>
                </a:cxn>
                <a:cxn ang="0">
                  <a:pos x="34" y="2"/>
                </a:cxn>
                <a:cxn ang="0">
                  <a:pos x="43" y="1"/>
                </a:cxn>
                <a:cxn ang="0">
                  <a:pos x="50" y="10"/>
                </a:cxn>
                <a:cxn ang="0">
                  <a:pos x="50" y="10"/>
                </a:cxn>
                <a:cxn ang="0">
                  <a:pos x="50" y="11"/>
                </a:cxn>
                <a:cxn ang="0">
                  <a:pos x="47" y="26"/>
                </a:cxn>
              </a:cxnLst>
              <a:rect l="0" t="0" r="r" b="b"/>
              <a:pathLst>
                <a:path w="50" h="58">
                  <a:moveTo>
                    <a:pt x="47" y="26"/>
                  </a:moveTo>
                  <a:cubicBezTo>
                    <a:pt x="45" y="31"/>
                    <a:pt x="43" y="36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6"/>
                    <a:pt x="34" y="49"/>
                    <a:pt x="32" y="51"/>
                  </a:cubicBezTo>
                  <a:cubicBezTo>
                    <a:pt x="29" y="54"/>
                    <a:pt x="26" y="56"/>
                    <a:pt x="24" y="57"/>
                  </a:cubicBezTo>
                  <a:cubicBezTo>
                    <a:pt x="22" y="57"/>
                    <a:pt x="19" y="58"/>
                    <a:pt x="17" y="57"/>
                  </a:cubicBezTo>
                  <a:cubicBezTo>
                    <a:pt x="15" y="57"/>
                    <a:pt x="13" y="56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7" y="53"/>
                    <a:pt x="5" y="51"/>
                    <a:pt x="4" y="49"/>
                  </a:cubicBezTo>
                  <a:cubicBezTo>
                    <a:pt x="2" y="47"/>
                    <a:pt x="1" y="45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0" y="31"/>
                    <a:pt x="12" y="16"/>
                    <a:pt x="24" y="7"/>
                  </a:cubicBezTo>
                  <a:cubicBezTo>
                    <a:pt x="27" y="5"/>
                    <a:pt x="31" y="3"/>
                    <a:pt x="34" y="2"/>
                  </a:cubicBezTo>
                  <a:cubicBezTo>
                    <a:pt x="37" y="0"/>
                    <a:pt x="41" y="0"/>
                    <a:pt x="43" y="1"/>
                  </a:cubicBezTo>
                  <a:cubicBezTo>
                    <a:pt x="47" y="2"/>
                    <a:pt x="50" y="5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5"/>
                    <a:pt x="49" y="20"/>
                    <a:pt x="47" y="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7" name="Freeform 45">
              <a:extLst>
                <a:ext uri="{FF2B5EF4-FFF2-40B4-BE49-F238E27FC236}">
                  <a16:creationId xmlns:a16="http://schemas.microsoft.com/office/drawing/2014/main" id="{F71D3A4E-0F1E-441D-AE4C-4870B8D6F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913" y="5639679"/>
              <a:ext cx="163513" cy="161925"/>
            </a:xfrm>
            <a:custGeom>
              <a:avLst/>
              <a:gdLst/>
              <a:ahLst/>
              <a:cxnLst>
                <a:cxn ang="0">
                  <a:pos x="56" y="32"/>
                </a:cxn>
                <a:cxn ang="0">
                  <a:pos x="45" y="47"/>
                </a:cxn>
                <a:cxn ang="0">
                  <a:pos x="45" y="47"/>
                </a:cxn>
                <a:cxn ang="0">
                  <a:pos x="35" y="57"/>
                </a:cxn>
                <a:cxn ang="0">
                  <a:pos x="25" y="62"/>
                </a:cxn>
                <a:cxn ang="0">
                  <a:pos x="16" y="62"/>
                </a:cxn>
                <a:cxn ang="0">
                  <a:pos x="8" y="57"/>
                </a:cxn>
                <a:cxn ang="0">
                  <a:pos x="8" y="57"/>
                </a:cxn>
                <a:cxn ang="0">
                  <a:pos x="2" y="50"/>
                </a:cxn>
                <a:cxn ang="0">
                  <a:pos x="1" y="41"/>
                </a:cxn>
                <a:cxn ang="0">
                  <a:pos x="1" y="41"/>
                </a:cxn>
                <a:cxn ang="0">
                  <a:pos x="1" y="41"/>
                </a:cxn>
                <a:cxn ang="0">
                  <a:pos x="36" y="5"/>
                </a:cxn>
                <a:cxn ang="0">
                  <a:pos x="48" y="1"/>
                </a:cxn>
                <a:cxn ang="0">
                  <a:pos x="59" y="3"/>
                </a:cxn>
                <a:cxn ang="0">
                  <a:pos x="63" y="15"/>
                </a:cxn>
                <a:cxn ang="0">
                  <a:pos x="63" y="15"/>
                </a:cxn>
                <a:cxn ang="0">
                  <a:pos x="63" y="15"/>
                </a:cxn>
                <a:cxn ang="0">
                  <a:pos x="56" y="32"/>
                </a:cxn>
              </a:cxnLst>
              <a:rect l="0" t="0" r="r" b="b"/>
              <a:pathLst>
                <a:path w="64" h="63">
                  <a:moveTo>
                    <a:pt x="56" y="32"/>
                  </a:moveTo>
                  <a:cubicBezTo>
                    <a:pt x="53" y="37"/>
                    <a:pt x="50" y="43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2" y="52"/>
                    <a:pt x="38" y="55"/>
                    <a:pt x="35" y="57"/>
                  </a:cubicBezTo>
                  <a:cubicBezTo>
                    <a:pt x="31" y="60"/>
                    <a:pt x="28" y="61"/>
                    <a:pt x="25" y="62"/>
                  </a:cubicBezTo>
                  <a:cubicBezTo>
                    <a:pt x="22" y="63"/>
                    <a:pt x="19" y="63"/>
                    <a:pt x="16" y="62"/>
                  </a:cubicBezTo>
                  <a:cubicBezTo>
                    <a:pt x="13" y="61"/>
                    <a:pt x="11" y="59"/>
                    <a:pt x="8" y="57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5" y="55"/>
                    <a:pt x="3" y="53"/>
                    <a:pt x="2" y="50"/>
                  </a:cubicBezTo>
                  <a:cubicBezTo>
                    <a:pt x="1" y="47"/>
                    <a:pt x="0" y="44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3" y="27"/>
                    <a:pt x="21" y="12"/>
                    <a:pt x="36" y="5"/>
                  </a:cubicBezTo>
                  <a:cubicBezTo>
                    <a:pt x="40" y="3"/>
                    <a:pt x="44" y="1"/>
                    <a:pt x="48" y="1"/>
                  </a:cubicBezTo>
                  <a:cubicBezTo>
                    <a:pt x="52" y="0"/>
                    <a:pt x="56" y="1"/>
                    <a:pt x="59" y="3"/>
                  </a:cubicBezTo>
                  <a:cubicBezTo>
                    <a:pt x="62" y="5"/>
                    <a:pt x="64" y="9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2" y="20"/>
                    <a:pt x="59" y="26"/>
                    <a:pt x="56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8" name="Freeform 46">
              <a:extLst>
                <a:ext uri="{FF2B5EF4-FFF2-40B4-BE49-F238E27FC236}">
                  <a16:creationId xmlns:a16="http://schemas.microsoft.com/office/drawing/2014/main" id="{B5342351-AE1B-4940-8DBF-F84704730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325" y="5552367"/>
              <a:ext cx="163513" cy="153988"/>
            </a:xfrm>
            <a:custGeom>
              <a:avLst/>
              <a:gdLst/>
              <a:ahLst/>
              <a:cxnLst>
                <a:cxn ang="0">
                  <a:pos x="45" y="45"/>
                </a:cxn>
                <a:cxn ang="0">
                  <a:pos x="45" y="45"/>
                </a:cxn>
                <a:cxn ang="0">
                  <a:pos x="45" y="45"/>
                </a:cxn>
                <a:cxn ang="0">
                  <a:pos x="45" y="45"/>
                </a:cxn>
                <a:cxn ang="0">
                  <a:pos x="44" y="46"/>
                </a:cxn>
                <a:cxn ang="0">
                  <a:pos x="43" y="47"/>
                </a:cxn>
                <a:cxn ang="0">
                  <a:pos x="43" y="47"/>
                </a:cxn>
                <a:cxn ang="0">
                  <a:pos x="34" y="55"/>
                </a:cxn>
                <a:cxn ang="0">
                  <a:pos x="23" y="60"/>
                </a:cxn>
                <a:cxn ang="0">
                  <a:pos x="15" y="59"/>
                </a:cxn>
                <a:cxn ang="0">
                  <a:pos x="7" y="54"/>
                </a:cxn>
                <a:cxn ang="0">
                  <a:pos x="5" y="52"/>
                </a:cxn>
                <a:cxn ang="0">
                  <a:pos x="5" y="52"/>
                </a:cxn>
                <a:cxn ang="0">
                  <a:pos x="1" y="46"/>
                </a:cxn>
                <a:cxn ang="0">
                  <a:pos x="0" y="38"/>
                </a:cxn>
                <a:cxn ang="0">
                  <a:pos x="0" y="37"/>
                </a:cxn>
                <a:cxn ang="0">
                  <a:pos x="0" y="37"/>
                </a:cxn>
                <a:cxn ang="0">
                  <a:pos x="35" y="3"/>
                </a:cxn>
                <a:cxn ang="0">
                  <a:pos x="48" y="0"/>
                </a:cxn>
                <a:cxn ang="0">
                  <a:pos x="59" y="3"/>
                </a:cxn>
                <a:cxn ang="0">
                  <a:pos x="63" y="15"/>
                </a:cxn>
                <a:cxn ang="0">
                  <a:pos x="63" y="15"/>
                </a:cxn>
                <a:cxn ang="0">
                  <a:pos x="63" y="15"/>
                </a:cxn>
                <a:cxn ang="0">
                  <a:pos x="56" y="30"/>
                </a:cxn>
                <a:cxn ang="0">
                  <a:pos x="45" y="45"/>
                </a:cxn>
              </a:cxnLst>
              <a:rect l="0" t="0" r="r" b="b"/>
              <a:pathLst>
                <a:path w="64" h="60"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0" y="51"/>
                    <a:pt x="37" y="53"/>
                    <a:pt x="34" y="55"/>
                  </a:cubicBezTo>
                  <a:cubicBezTo>
                    <a:pt x="30" y="58"/>
                    <a:pt x="26" y="59"/>
                    <a:pt x="23" y="60"/>
                  </a:cubicBezTo>
                  <a:cubicBezTo>
                    <a:pt x="20" y="60"/>
                    <a:pt x="18" y="60"/>
                    <a:pt x="15" y="59"/>
                  </a:cubicBezTo>
                  <a:cubicBezTo>
                    <a:pt x="12" y="58"/>
                    <a:pt x="10" y="56"/>
                    <a:pt x="7" y="54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4" y="50"/>
                    <a:pt x="2" y="48"/>
                    <a:pt x="1" y="46"/>
                  </a:cubicBezTo>
                  <a:cubicBezTo>
                    <a:pt x="0" y="44"/>
                    <a:pt x="0" y="41"/>
                    <a:pt x="0" y="3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5" y="22"/>
                    <a:pt x="21" y="9"/>
                    <a:pt x="35" y="3"/>
                  </a:cubicBezTo>
                  <a:cubicBezTo>
                    <a:pt x="40" y="1"/>
                    <a:pt x="44" y="0"/>
                    <a:pt x="48" y="0"/>
                  </a:cubicBezTo>
                  <a:cubicBezTo>
                    <a:pt x="52" y="0"/>
                    <a:pt x="56" y="0"/>
                    <a:pt x="59" y="3"/>
                  </a:cubicBezTo>
                  <a:cubicBezTo>
                    <a:pt x="62" y="5"/>
                    <a:pt x="64" y="9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20"/>
                    <a:pt x="59" y="25"/>
                    <a:pt x="56" y="30"/>
                  </a:cubicBezTo>
                  <a:cubicBezTo>
                    <a:pt x="53" y="36"/>
                    <a:pt x="49" y="41"/>
                    <a:pt x="45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  <p:sp>
          <p:nvSpPr>
            <p:cNvPr id="219" name="Freeform 47">
              <a:extLst>
                <a:ext uri="{FF2B5EF4-FFF2-40B4-BE49-F238E27FC236}">
                  <a16:creationId xmlns:a16="http://schemas.microsoft.com/office/drawing/2014/main" id="{7B09D1FD-3C78-4264-9612-4B95DB1A9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975" y="5465054"/>
              <a:ext cx="171450" cy="136525"/>
            </a:xfrm>
            <a:custGeom>
              <a:avLst/>
              <a:gdLst/>
              <a:ahLst/>
              <a:cxnLst>
                <a:cxn ang="0">
                  <a:pos x="43" y="42"/>
                </a:cxn>
                <a:cxn ang="0">
                  <a:pos x="43" y="42"/>
                </a:cxn>
                <a:cxn ang="0">
                  <a:pos x="43" y="42"/>
                </a:cxn>
                <a:cxn ang="0">
                  <a:pos x="43" y="42"/>
                </a:cxn>
                <a:cxn ang="0">
                  <a:pos x="43" y="42"/>
                </a:cxn>
                <a:cxn ang="0">
                  <a:pos x="31" y="50"/>
                </a:cxn>
                <a:cxn ang="0">
                  <a:pos x="20" y="53"/>
                </a:cxn>
                <a:cxn ang="0">
                  <a:pos x="12" y="50"/>
                </a:cxn>
                <a:cxn ang="0">
                  <a:pos x="5" y="44"/>
                </a:cxn>
                <a:cxn ang="0">
                  <a:pos x="1" y="36"/>
                </a:cxn>
                <a:cxn ang="0">
                  <a:pos x="1" y="27"/>
                </a:cxn>
                <a:cxn ang="0">
                  <a:pos x="1" y="27"/>
                </a:cxn>
                <a:cxn ang="0">
                  <a:pos x="1" y="27"/>
                </a:cxn>
                <a:cxn ang="0">
                  <a:pos x="38" y="1"/>
                </a:cxn>
                <a:cxn ang="0">
                  <a:pos x="52" y="0"/>
                </a:cxn>
                <a:cxn ang="0">
                  <a:pos x="63" y="4"/>
                </a:cxn>
                <a:cxn ang="0">
                  <a:pos x="67" y="14"/>
                </a:cxn>
                <a:cxn ang="0">
                  <a:pos x="67" y="15"/>
                </a:cxn>
                <a:cxn ang="0">
                  <a:pos x="66" y="15"/>
                </a:cxn>
                <a:cxn ang="0">
                  <a:pos x="57" y="29"/>
                </a:cxn>
                <a:cxn ang="0">
                  <a:pos x="43" y="42"/>
                </a:cxn>
                <a:cxn ang="0">
                  <a:pos x="43" y="42"/>
                </a:cxn>
              </a:cxnLst>
              <a:rect l="0" t="0" r="r" b="b"/>
              <a:pathLst>
                <a:path w="67" h="53"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39" y="46"/>
                    <a:pt x="35" y="48"/>
                    <a:pt x="31" y="50"/>
                  </a:cubicBezTo>
                  <a:cubicBezTo>
                    <a:pt x="27" y="52"/>
                    <a:pt x="23" y="53"/>
                    <a:pt x="20" y="53"/>
                  </a:cubicBezTo>
                  <a:cubicBezTo>
                    <a:pt x="17" y="53"/>
                    <a:pt x="14" y="52"/>
                    <a:pt x="12" y="50"/>
                  </a:cubicBezTo>
                  <a:cubicBezTo>
                    <a:pt x="9" y="49"/>
                    <a:pt x="7" y="47"/>
                    <a:pt x="5" y="44"/>
                  </a:cubicBezTo>
                  <a:cubicBezTo>
                    <a:pt x="3" y="42"/>
                    <a:pt x="1" y="39"/>
                    <a:pt x="1" y="36"/>
                  </a:cubicBezTo>
                  <a:cubicBezTo>
                    <a:pt x="0" y="33"/>
                    <a:pt x="0" y="30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6" y="15"/>
                    <a:pt x="23" y="5"/>
                    <a:pt x="38" y="1"/>
                  </a:cubicBezTo>
                  <a:cubicBezTo>
                    <a:pt x="43" y="0"/>
                    <a:pt x="48" y="0"/>
                    <a:pt x="52" y="0"/>
                  </a:cubicBezTo>
                  <a:cubicBezTo>
                    <a:pt x="57" y="0"/>
                    <a:pt x="60" y="1"/>
                    <a:pt x="63" y="4"/>
                  </a:cubicBezTo>
                  <a:cubicBezTo>
                    <a:pt x="66" y="6"/>
                    <a:pt x="67" y="10"/>
                    <a:pt x="67" y="14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4" y="20"/>
                    <a:pt x="61" y="25"/>
                    <a:pt x="57" y="29"/>
                  </a:cubicBezTo>
                  <a:cubicBezTo>
                    <a:pt x="53" y="34"/>
                    <a:pt x="48" y="38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Georgia" panose="02040502050405020303" pitchFamily="18" charset="0"/>
              </a:endParaRPr>
            </a:p>
          </p:txBody>
        </p:sp>
      </p:grpSp>
      <p:sp>
        <p:nvSpPr>
          <p:cNvPr id="105" name="Google Shape;9538;p450">
            <a:extLst>
              <a:ext uri="{FF2B5EF4-FFF2-40B4-BE49-F238E27FC236}">
                <a16:creationId xmlns:a16="http://schemas.microsoft.com/office/drawing/2014/main" id="{8743636A-3B15-494B-85AB-69EBFE883CFB}"/>
              </a:ext>
            </a:extLst>
          </p:cNvPr>
          <p:cNvSpPr/>
          <p:nvPr/>
        </p:nvSpPr>
        <p:spPr>
          <a:xfrm>
            <a:off x="5052725" y="5516442"/>
            <a:ext cx="414528" cy="414528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332" y="100"/>
                </a:moveTo>
                <a:cubicBezTo>
                  <a:pt x="315" y="100"/>
                  <a:pt x="300" y="107"/>
                  <a:pt x="288" y="119"/>
                </a:cubicBezTo>
                <a:cubicBezTo>
                  <a:pt x="277" y="107"/>
                  <a:pt x="262" y="100"/>
                  <a:pt x="245" y="100"/>
                </a:cubicBezTo>
                <a:cubicBezTo>
                  <a:pt x="212" y="100"/>
                  <a:pt x="185" y="127"/>
                  <a:pt x="185" y="160"/>
                </a:cubicBezTo>
                <a:cubicBezTo>
                  <a:pt x="185" y="174"/>
                  <a:pt x="190" y="188"/>
                  <a:pt x="20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80" y="284"/>
                  <a:pt x="280" y="284"/>
                  <a:pt x="280" y="284"/>
                </a:cubicBezTo>
                <a:cubicBezTo>
                  <a:pt x="288" y="293"/>
                  <a:pt x="288" y="293"/>
                  <a:pt x="288" y="293"/>
                </a:cubicBezTo>
                <a:cubicBezTo>
                  <a:pt x="297" y="284"/>
                  <a:pt x="297" y="284"/>
                  <a:pt x="297" y="284"/>
                </a:cubicBezTo>
                <a:cubicBezTo>
                  <a:pt x="377" y="200"/>
                  <a:pt x="377" y="200"/>
                  <a:pt x="377" y="200"/>
                </a:cubicBezTo>
                <a:cubicBezTo>
                  <a:pt x="387" y="189"/>
                  <a:pt x="392" y="175"/>
                  <a:pt x="392" y="160"/>
                </a:cubicBezTo>
                <a:cubicBezTo>
                  <a:pt x="392" y="127"/>
                  <a:pt x="365" y="100"/>
                  <a:pt x="332" y="100"/>
                </a:cubicBezTo>
                <a:close/>
                <a:moveTo>
                  <a:pt x="353" y="190"/>
                </a:moveTo>
                <a:cubicBezTo>
                  <a:pt x="288" y="259"/>
                  <a:pt x="288" y="259"/>
                  <a:pt x="288" y="259"/>
                </a:cubicBezTo>
                <a:cubicBezTo>
                  <a:pt x="223" y="191"/>
                  <a:pt x="223" y="191"/>
                  <a:pt x="223" y="191"/>
                </a:cubicBezTo>
                <a:cubicBezTo>
                  <a:pt x="218" y="183"/>
                  <a:pt x="210" y="174"/>
                  <a:pt x="210" y="164"/>
                </a:cubicBezTo>
                <a:cubicBezTo>
                  <a:pt x="210" y="138"/>
                  <a:pt x="230" y="125"/>
                  <a:pt x="253" y="125"/>
                </a:cubicBezTo>
                <a:cubicBezTo>
                  <a:pt x="265" y="125"/>
                  <a:pt x="276" y="132"/>
                  <a:pt x="283" y="141"/>
                </a:cubicBezTo>
                <a:cubicBezTo>
                  <a:pt x="285" y="143"/>
                  <a:pt x="286" y="144"/>
                  <a:pt x="288" y="144"/>
                </a:cubicBezTo>
                <a:cubicBezTo>
                  <a:pt x="290" y="144"/>
                  <a:pt x="292" y="143"/>
                  <a:pt x="293" y="141"/>
                </a:cubicBezTo>
                <a:cubicBezTo>
                  <a:pt x="300" y="132"/>
                  <a:pt x="311" y="126"/>
                  <a:pt x="324" y="126"/>
                </a:cubicBezTo>
                <a:cubicBezTo>
                  <a:pt x="349" y="126"/>
                  <a:pt x="367" y="143"/>
                  <a:pt x="367" y="165"/>
                </a:cubicBezTo>
                <a:cubicBezTo>
                  <a:pt x="367" y="175"/>
                  <a:pt x="359" y="184"/>
                  <a:pt x="353" y="190"/>
                </a:cubicBezTo>
                <a:close/>
                <a:moveTo>
                  <a:pt x="0" y="0"/>
                </a:moveTo>
                <a:cubicBezTo>
                  <a:pt x="0" y="570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6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247" y="497"/>
                </a:moveTo>
                <a:cubicBezTo>
                  <a:pt x="247" y="541"/>
                  <a:pt x="247" y="549"/>
                  <a:pt x="247" y="551"/>
                </a:cubicBezTo>
                <a:cubicBezTo>
                  <a:pt x="162" y="551"/>
                  <a:pt x="162" y="551"/>
                  <a:pt x="162" y="551"/>
                </a:cubicBezTo>
                <a:cubicBezTo>
                  <a:pt x="162" y="458"/>
                  <a:pt x="162" y="458"/>
                  <a:pt x="162" y="458"/>
                </a:cubicBezTo>
                <a:cubicBezTo>
                  <a:pt x="76" y="371"/>
                  <a:pt x="76" y="371"/>
                  <a:pt x="76" y="371"/>
                </a:cubicBezTo>
                <a:cubicBezTo>
                  <a:pt x="74" y="369"/>
                  <a:pt x="72" y="365"/>
                  <a:pt x="72" y="362"/>
                </a:cubicBezTo>
                <a:cubicBezTo>
                  <a:pt x="73" y="170"/>
                  <a:pt x="73" y="170"/>
                  <a:pt x="73" y="170"/>
                </a:cubicBezTo>
                <a:cubicBezTo>
                  <a:pt x="73" y="166"/>
                  <a:pt x="74" y="163"/>
                  <a:pt x="77" y="160"/>
                </a:cubicBezTo>
                <a:cubicBezTo>
                  <a:pt x="80" y="158"/>
                  <a:pt x="83" y="156"/>
                  <a:pt x="87" y="157"/>
                </a:cubicBezTo>
                <a:cubicBezTo>
                  <a:pt x="94" y="157"/>
                  <a:pt x="100" y="164"/>
                  <a:pt x="100" y="172"/>
                </a:cubicBezTo>
                <a:cubicBezTo>
                  <a:pt x="100" y="319"/>
                  <a:pt x="100" y="319"/>
                  <a:pt x="100" y="319"/>
                </a:cubicBezTo>
                <a:cubicBezTo>
                  <a:pt x="100" y="333"/>
                  <a:pt x="111" y="351"/>
                  <a:pt x="118" y="358"/>
                </a:cubicBezTo>
                <a:cubicBezTo>
                  <a:pt x="199" y="440"/>
                  <a:pt x="199" y="440"/>
                  <a:pt x="199" y="440"/>
                </a:cubicBezTo>
                <a:cubicBezTo>
                  <a:pt x="200" y="440"/>
                  <a:pt x="200" y="440"/>
                  <a:pt x="200" y="440"/>
                </a:cubicBezTo>
                <a:cubicBezTo>
                  <a:pt x="217" y="423"/>
                  <a:pt x="217" y="423"/>
                  <a:pt x="217" y="423"/>
                </a:cubicBezTo>
                <a:cubicBezTo>
                  <a:pt x="136" y="340"/>
                  <a:pt x="136" y="340"/>
                  <a:pt x="136" y="340"/>
                </a:cubicBezTo>
                <a:cubicBezTo>
                  <a:pt x="130" y="335"/>
                  <a:pt x="130" y="326"/>
                  <a:pt x="136" y="321"/>
                </a:cubicBezTo>
                <a:cubicBezTo>
                  <a:pt x="138" y="318"/>
                  <a:pt x="142" y="317"/>
                  <a:pt x="145" y="317"/>
                </a:cubicBezTo>
                <a:cubicBezTo>
                  <a:pt x="149" y="317"/>
                  <a:pt x="152" y="318"/>
                  <a:pt x="155" y="321"/>
                </a:cubicBezTo>
                <a:cubicBezTo>
                  <a:pt x="243" y="411"/>
                  <a:pt x="243" y="411"/>
                  <a:pt x="243" y="411"/>
                </a:cubicBezTo>
                <a:cubicBezTo>
                  <a:pt x="246" y="413"/>
                  <a:pt x="247" y="417"/>
                  <a:pt x="247" y="420"/>
                </a:cubicBezTo>
                <a:cubicBezTo>
                  <a:pt x="247" y="497"/>
                  <a:pt x="247" y="497"/>
                  <a:pt x="247" y="497"/>
                </a:cubicBezTo>
                <a:close/>
                <a:moveTo>
                  <a:pt x="329" y="551"/>
                </a:moveTo>
                <a:cubicBezTo>
                  <a:pt x="329" y="497"/>
                  <a:pt x="329" y="497"/>
                  <a:pt x="329" y="497"/>
                </a:cubicBezTo>
                <a:cubicBezTo>
                  <a:pt x="329" y="420"/>
                  <a:pt x="329" y="420"/>
                  <a:pt x="329" y="420"/>
                </a:cubicBezTo>
                <a:cubicBezTo>
                  <a:pt x="329" y="417"/>
                  <a:pt x="330" y="413"/>
                  <a:pt x="333" y="411"/>
                </a:cubicBezTo>
                <a:cubicBezTo>
                  <a:pt x="421" y="321"/>
                  <a:pt x="421" y="321"/>
                  <a:pt x="421" y="321"/>
                </a:cubicBezTo>
                <a:cubicBezTo>
                  <a:pt x="424" y="318"/>
                  <a:pt x="427" y="317"/>
                  <a:pt x="431" y="317"/>
                </a:cubicBezTo>
                <a:cubicBezTo>
                  <a:pt x="434" y="317"/>
                  <a:pt x="438" y="318"/>
                  <a:pt x="440" y="321"/>
                </a:cubicBezTo>
                <a:cubicBezTo>
                  <a:pt x="446" y="326"/>
                  <a:pt x="446" y="335"/>
                  <a:pt x="440" y="340"/>
                </a:cubicBezTo>
                <a:cubicBezTo>
                  <a:pt x="359" y="423"/>
                  <a:pt x="359" y="423"/>
                  <a:pt x="359" y="423"/>
                </a:cubicBezTo>
                <a:cubicBezTo>
                  <a:pt x="376" y="440"/>
                  <a:pt x="376" y="440"/>
                  <a:pt x="376" y="440"/>
                </a:cubicBezTo>
                <a:cubicBezTo>
                  <a:pt x="458" y="358"/>
                  <a:pt x="458" y="358"/>
                  <a:pt x="458" y="358"/>
                </a:cubicBezTo>
                <a:cubicBezTo>
                  <a:pt x="465" y="351"/>
                  <a:pt x="476" y="333"/>
                  <a:pt x="476" y="319"/>
                </a:cubicBezTo>
                <a:cubicBezTo>
                  <a:pt x="476" y="172"/>
                  <a:pt x="476" y="172"/>
                  <a:pt x="476" y="172"/>
                </a:cubicBezTo>
                <a:cubicBezTo>
                  <a:pt x="476" y="164"/>
                  <a:pt x="482" y="157"/>
                  <a:pt x="489" y="157"/>
                </a:cubicBezTo>
                <a:cubicBezTo>
                  <a:pt x="493" y="156"/>
                  <a:pt x="496" y="158"/>
                  <a:pt x="499" y="160"/>
                </a:cubicBezTo>
                <a:cubicBezTo>
                  <a:pt x="502" y="163"/>
                  <a:pt x="503" y="166"/>
                  <a:pt x="503" y="170"/>
                </a:cubicBezTo>
                <a:cubicBezTo>
                  <a:pt x="504" y="362"/>
                  <a:pt x="504" y="362"/>
                  <a:pt x="504" y="362"/>
                </a:cubicBezTo>
                <a:cubicBezTo>
                  <a:pt x="504" y="365"/>
                  <a:pt x="502" y="369"/>
                  <a:pt x="500" y="371"/>
                </a:cubicBezTo>
                <a:cubicBezTo>
                  <a:pt x="414" y="458"/>
                  <a:pt x="414" y="458"/>
                  <a:pt x="414" y="458"/>
                </a:cubicBezTo>
                <a:cubicBezTo>
                  <a:pt x="414" y="536"/>
                  <a:pt x="414" y="549"/>
                  <a:pt x="414" y="551"/>
                </a:cubicBezTo>
                <a:lnTo>
                  <a:pt x="329" y="551"/>
                </a:lnTo>
                <a:close/>
                <a:moveTo>
                  <a:pt x="552" y="551"/>
                </a:moveTo>
                <a:cubicBezTo>
                  <a:pt x="551" y="551"/>
                  <a:pt x="551" y="551"/>
                  <a:pt x="551" y="551"/>
                </a:cubicBezTo>
                <a:cubicBezTo>
                  <a:pt x="438" y="551"/>
                  <a:pt x="438" y="551"/>
                  <a:pt x="438" y="551"/>
                </a:cubicBezTo>
                <a:cubicBezTo>
                  <a:pt x="438" y="468"/>
                  <a:pt x="438" y="468"/>
                  <a:pt x="438" y="468"/>
                </a:cubicBezTo>
                <a:cubicBezTo>
                  <a:pt x="517" y="389"/>
                  <a:pt x="517" y="389"/>
                  <a:pt x="517" y="389"/>
                </a:cubicBezTo>
                <a:cubicBezTo>
                  <a:pt x="524" y="381"/>
                  <a:pt x="528" y="372"/>
                  <a:pt x="528" y="362"/>
                </a:cubicBezTo>
                <a:cubicBezTo>
                  <a:pt x="528" y="170"/>
                  <a:pt x="528" y="170"/>
                  <a:pt x="528" y="170"/>
                </a:cubicBezTo>
                <a:cubicBezTo>
                  <a:pt x="528" y="160"/>
                  <a:pt x="523" y="150"/>
                  <a:pt x="516" y="142"/>
                </a:cubicBezTo>
                <a:cubicBezTo>
                  <a:pt x="508" y="134"/>
                  <a:pt x="498" y="131"/>
                  <a:pt x="488" y="131"/>
                </a:cubicBezTo>
                <a:cubicBezTo>
                  <a:pt x="468" y="132"/>
                  <a:pt x="452" y="151"/>
                  <a:pt x="452" y="172"/>
                </a:cubicBezTo>
                <a:cubicBezTo>
                  <a:pt x="452" y="299"/>
                  <a:pt x="452" y="299"/>
                  <a:pt x="452" y="299"/>
                </a:cubicBezTo>
                <a:cubicBezTo>
                  <a:pt x="437" y="289"/>
                  <a:pt x="417" y="291"/>
                  <a:pt x="404" y="304"/>
                </a:cubicBezTo>
                <a:cubicBezTo>
                  <a:pt x="315" y="394"/>
                  <a:pt x="315" y="394"/>
                  <a:pt x="315" y="394"/>
                </a:cubicBezTo>
                <a:cubicBezTo>
                  <a:pt x="308" y="401"/>
                  <a:pt x="304" y="410"/>
                  <a:pt x="304" y="421"/>
                </a:cubicBezTo>
                <a:cubicBezTo>
                  <a:pt x="305" y="532"/>
                  <a:pt x="305" y="549"/>
                  <a:pt x="305" y="551"/>
                </a:cubicBezTo>
                <a:cubicBezTo>
                  <a:pt x="271" y="551"/>
                  <a:pt x="271" y="551"/>
                  <a:pt x="271" y="551"/>
                </a:cubicBezTo>
                <a:cubicBezTo>
                  <a:pt x="272" y="421"/>
                  <a:pt x="272" y="421"/>
                  <a:pt x="272" y="421"/>
                </a:cubicBezTo>
                <a:cubicBezTo>
                  <a:pt x="272" y="410"/>
                  <a:pt x="268" y="401"/>
                  <a:pt x="261" y="394"/>
                </a:cubicBezTo>
                <a:cubicBezTo>
                  <a:pt x="172" y="304"/>
                  <a:pt x="172" y="304"/>
                  <a:pt x="172" y="304"/>
                </a:cubicBezTo>
                <a:cubicBezTo>
                  <a:pt x="159" y="291"/>
                  <a:pt x="139" y="289"/>
                  <a:pt x="124" y="299"/>
                </a:cubicBezTo>
                <a:cubicBezTo>
                  <a:pt x="124" y="172"/>
                  <a:pt x="124" y="172"/>
                  <a:pt x="124" y="172"/>
                </a:cubicBezTo>
                <a:cubicBezTo>
                  <a:pt x="124" y="151"/>
                  <a:pt x="108" y="132"/>
                  <a:pt x="88" y="131"/>
                </a:cubicBezTo>
                <a:cubicBezTo>
                  <a:pt x="78" y="131"/>
                  <a:pt x="68" y="134"/>
                  <a:pt x="60" y="142"/>
                </a:cubicBezTo>
                <a:cubicBezTo>
                  <a:pt x="53" y="150"/>
                  <a:pt x="48" y="160"/>
                  <a:pt x="48" y="170"/>
                </a:cubicBezTo>
                <a:cubicBezTo>
                  <a:pt x="48" y="362"/>
                  <a:pt x="48" y="362"/>
                  <a:pt x="48" y="362"/>
                </a:cubicBezTo>
                <a:cubicBezTo>
                  <a:pt x="48" y="372"/>
                  <a:pt x="52" y="381"/>
                  <a:pt x="59" y="389"/>
                </a:cubicBezTo>
                <a:cubicBezTo>
                  <a:pt x="138" y="468"/>
                  <a:pt x="138" y="468"/>
                  <a:pt x="138" y="468"/>
                </a:cubicBezTo>
                <a:cubicBezTo>
                  <a:pt x="138" y="537"/>
                  <a:pt x="138" y="549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2" y="24"/>
                  <a:pt x="552" y="24"/>
                  <a:pt x="552" y="24"/>
                </a:cubicBezTo>
                <a:lnTo>
                  <a:pt x="552" y="5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endParaRPr sz="933" dirty="0">
              <a:solidFill>
                <a:srgbClr val="D04A02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901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22aaf9e968d_4_293"/>
          <p:cNvSpPr txBox="1">
            <a:spLocks noGrp="1"/>
          </p:cNvSpPr>
          <p:nvPr>
            <p:ph type="title"/>
          </p:nvPr>
        </p:nvSpPr>
        <p:spPr>
          <a:xfrm>
            <a:off x="442950" y="388636"/>
            <a:ext cx="11306100" cy="49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SzPts val="1100"/>
            </a:pPr>
            <a:r>
              <a:rPr lang="en-IN" sz="2400" dirty="0"/>
              <a:t>Key considerations for Corporate Governance in startups</a:t>
            </a:r>
            <a:endParaRPr sz="24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DEA834-7326-40BA-882E-9C5D1E9DD6E9}"/>
              </a:ext>
            </a:extLst>
          </p:cNvPr>
          <p:cNvGrpSpPr/>
          <p:nvPr/>
        </p:nvGrpSpPr>
        <p:grpSpPr>
          <a:xfrm>
            <a:off x="240672" y="3930788"/>
            <a:ext cx="9998482" cy="2233434"/>
            <a:chOff x="639867" y="3429000"/>
            <a:chExt cx="11263632" cy="2941881"/>
          </a:xfrm>
        </p:grpSpPr>
        <p:sp>
          <p:nvSpPr>
            <p:cNvPr id="105" name="Google Shape;598;p6">
              <a:extLst>
                <a:ext uri="{FF2B5EF4-FFF2-40B4-BE49-F238E27FC236}">
                  <a16:creationId xmlns:a16="http://schemas.microsoft.com/office/drawing/2014/main" id="{7A512983-447E-49CF-AF24-79CBDEA2BF24}"/>
                </a:ext>
              </a:extLst>
            </p:cNvPr>
            <p:cNvSpPr/>
            <p:nvPr/>
          </p:nvSpPr>
          <p:spPr>
            <a:xfrm>
              <a:off x="639867" y="5803314"/>
              <a:ext cx="1874520" cy="2837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Ideation</a:t>
              </a:r>
              <a:endParaRPr sz="12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06" name="Google Shape;599;p6">
              <a:extLst>
                <a:ext uri="{FF2B5EF4-FFF2-40B4-BE49-F238E27FC236}">
                  <a16:creationId xmlns:a16="http://schemas.microsoft.com/office/drawing/2014/main" id="{E69E443B-DFEF-408B-8ECC-46E617B69CF8}"/>
                </a:ext>
              </a:extLst>
            </p:cNvPr>
            <p:cNvSpPr/>
            <p:nvPr/>
          </p:nvSpPr>
          <p:spPr>
            <a:xfrm>
              <a:off x="671871" y="3429000"/>
              <a:ext cx="1810512" cy="181051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600;p6">
              <a:extLst>
                <a:ext uri="{FF2B5EF4-FFF2-40B4-BE49-F238E27FC236}">
                  <a16:creationId xmlns:a16="http://schemas.microsoft.com/office/drawing/2014/main" id="{69A8753E-F71F-4D18-B4D0-84F7E2AC5F5F}"/>
                </a:ext>
              </a:extLst>
            </p:cNvPr>
            <p:cNvSpPr/>
            <p:nvPr/>
          </p:nvSpPr>
          <p:spPr>
            <a:xfrm rot="10800000">
              <a:off x="1440548" y="5429972"/>
              <a:ext cx="273159" cy="182880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601;p6">
              <a:extLst>
                <a:ext uri="{FF2B5EF4-FFF2-40B4-BE49-F238E27FC236}">
                  <a16:creationId xmlns:a16="http://schemas.microsoft.com/office/drawing/2014/main" id="{4E8EF376-0482-4184-A81A-653CABE28784}"/>
                </a:ext>
              </a:extLst>
            </p:cNvPr>
            <p:cNvSpPr/>
            <p:nvPr/>
          </p:nvSpPr>
          <p:spPr>
            <a:xfrm>
              <a:off x="2995146" y="5803314"/>
              <a:ext cx="1874520" cy="2837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Initial Stage</a:t>
              </a:r>
              <a:endParaRPr sz="12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09" name="Google Shape;602;p6">
              <a:extLst>
                <a:ext uri="{FF2B5EF4-FFF2-40B4-BE49-F238E27FC236}">
                  <a16:creationId xmlns:a16="http://schemas.microsoft.com/office/drawing/2014/main" id="{07AD289A-7DEC-437F-B32D-98F0BB4B922D}"/>
                </a:ext>
              </a:extLst>
            </p:cNvPr>
            <p:cNvSpPr/>
            <p:nvPr/>
          </p:nvSpPr>
          <p:spPr>
            <a:xfrm>
              <a:off x="3027150" y="3429000"/>
              <a:ext cx="1810512" cy="18105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603;p6">
              <a:extLst>
                <a:ext uri="{FF2B5EF4-FFF2-40B4-BE49-F238E27FC236}">
                  <a16:creationId xmlns:a16="http://schemas.microsoft.com/office/drawing/2014/main" id="{5ED8F62B-06D1-4772-B711-E4723ADB57ED}"/>
                </a:ext>
              </a:extLst>
            </p:cNvPr>
            <p:cNvSpPr/>
            <p:nvPr/>
          </p:nvSpPr>
          <p:spPr>
            <a:xfrm rot="10800000">
              <a:off x="3795827" y="5429972"/>
              <a:ext cx="273159" cy="182880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604;p6">
              <a:extLst>
                <a:ext uri="{FF2B5EF4-FFF2-40B4-BE49-F238E27FC236}">
                  <a16:creationId xmlns:a16="http://schemas.microsoft.com/office/drawing/2014/main" id="{116E5AB8-72BF-44D3-A89E-EF468AA8BEA1}"/>
                </a:ext>
              </a:extLst>
            </p:cNvPr>
            <p:cNvSpPr/>
            <p:nvPr/>
          </p:nvSpPr>
          <p:spPr>
            <a:xfrm>
              <a:off x="5382429" y="3429000"/>
              <a:ext cx="1810512" cy="181051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605;p6">
              <a:extLst>
                <a:ext uri="{FF2B5EF4-FFF2-40B4-BE49-F238E27FC236}">
                  <a16:creationId xmlns:a16="http://schemas.microsoft.com/office/drawing/2014/main" id="{EC9163D8-AA6E-4036-97D1-40E237140969}"/>
                </a:ext>
              </a:extLst>
            </p:cNvPr>
            <p:cNvSpPr/>
            <p:nvPr/>
          </p:nvSpPr>
          <p:spPr>
            <a:xfrm>
              <a:off x="5350425" y="5803314"/>
              <a:ext cx="1874520" cy="5675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i="0" u="none" strike="noStrike" cap="none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Growth - Product Market Fit</a:t>
              </a:r>
            </a:p>
          </p:txBody>
        </p:sp>
        <p:sp>
          <p:nvSpPr>
            <p:cNvPr id="113" name="Google Shape;606;p6">
              <a:extLst>
                <a:ext uri="{FF2B5EF4-FFF2-40B4-BE49-F238E27FC236}">
                  <a16:creationId xmlns:a16="http://schemas.microsoft.com/office/drawing/2014/main" id="{4D15552F-981C-4DAA-94DA-0049231E5D1F}"/>
                </a:ext>
              </a:extLst>
            </p:cNvPr>
            <p:cNvSpPr/>
            <p:nvPr/>
          </p:nvSpPr>
          <p:spPr>
            <a:xfrm rot="10800000">
              <a:off x="6151106" y="5429972"/>
              <a:ext cx="273159" cy="182880"/>
            </a:xfrm>
            <a:prstGeom prst="triangle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607;p6">
              <a:extLst>
                <a:ext uri="{FF2B5EF4-FFF2-40B4-BE49-F238E27FC236}">
                  <a16:creationId xmlns:a16="http://schemas.microsoft.com/office/drawing/2014/main" id="{14011453-5E1F-41F5-951D-895A74293954}"/>
                </a:ext>
              </a:extLst>
            </p:cNvPr>
            <p:cNvSpPr/>
            <p:nvPr/>
          </p:nvSpPr>
          <p:spPr>
            <a:xfrm>
              <a:off x="7737708" y="3429000"/>
              <a:ext cx="1810512" cy="1810512"/>
            </a:xfrm>
            <a:prstGeom prst="ellipse">
              <a:avLst/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608;p6">
              <a:extLst>
                <a:ext uri="{FF2B5EF4-FFF2-40B4-BE49-F238E27FC236}">
                  <a16:creationId xmlns:a16="http://schemas.microsoft.com/office/drawing/2014/main" id="{30F52879-6FD7-4CF7-AC91-701885C61BFC}"/>
                </a:ext>
              </a:extLst>
            </p:cNvPr>
            <p:cNvSpPr/>
            <p:nvPr/>
          </p:nvSpPr>
          <p:spPr>
            <a:xfrm>
              <a:off x="7705704" y="5803316"/>
              <a:ext cx="1874520" cy="5675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Established/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Pre-IPO</a:t>
              </a:r>
              <a:endParaRPr sz="120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16" name="Google Shape;609;p6">
              <a:extLst>
                <a:ext uri="{FF2B5EF4-FFF2-40B4-BE49-F238E27FC236}">
                  <a16:creationId xmlns:a16="http://schemas.microsoft.com/office/drawing/2014/main" id="{2D30582B-014A-455F-BACF-F917036271DF}"/>
                </a:ext>
              </a:extLst>
            </p:cNvPr>
            <p:cNvSpPr/>
            <p:nvPr/>
          </p:nvSpPr>
          <p:spPr>
            <a:xfrm rot="10800000">
              <a:off x="8506385" y="5429973"/>
              <a:ext cx="273159" cy="182880"/>
            </a:xfrm>
            <a:prstGeom prst="triangle">
              <a:avLst>
                <a:gd name="adj" fmla="val 50000"/>
              </a:avLst>
            </a:prstGeom>
            <a:solidFill>
              <a:srgbClr val="46464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17" name="Google Shape;610;p6">
              <a:extLst>
                <a:ext uri="{FF2B5EF4-FFF2-40B4-BE49-F238E27FC236}">
                  <a16:creationId xmlns:a16="http://schemas.microsoft.com/office/drawing/2014/main" id="{EF8E7917-6152-4C84-BCBC-40D71865B0CA}"/>
                </a:ext>
              </a:extLst>
            </p:cNvPr>
            <p:cNvGrpSpPr/>
            <p:nvPr/>
          </p:nvGrpSpPr>
          <p:grpSpPr>
            <a:xfrm>
              <a:off x="3507210" y="3898715"/>
              <a:ext cx="850392" cy="871083"/>
              <a:chOff x="2747885" y="4905952"/>
              <a:chExt cx="437170" cy="447807"/>
            </a:xfrm>
          </p:grpSpPr>
          <p:sp>
            <p:nvSpPr>
              <p:cNvPr id="118" name="Google Shape;611;p6">
                <a:extLst>
                  <a:ext uri="{FF2B5EF4-FFF2-40B4-BE49-F238E27FC236}">
                    <a16:creationId xmlns:a16="http://schemas.microsoft.com/office/drawing/2014/main" id="{A5ADEB20-562D-44AD-9975-85D54F9B23B4}"/>
                  </a:ext>
                </a:extLst>
              </p:cNvPr>
              <p:cNvSpPr/>
              <p:nvPr/>
            </p:nvSpPr>
            <p:spPr>
              <a:xfrm>
                <a:off x="2795534" y="4905952"/>
                <a:ext cx="321221" cy="269654"/>
              </a:xfrm>
              <a:custGeom>
                <a:avLst/>
                <a:gdLst/>
                <a:ahLst/>
                <a:cxnLst/>
                <a:rect l="l" t="t" r="r" b="b"/>
                <a:pathLst>
                  <a:path w="321221" h="269654" extrusionOk="0">
                    <a:moveTo>
                      <a:pt x="15489" y="269655"/>
                    </a:moveTo>
                    <a:lnTo>
                      <a:pt x="294598" y="44600"/>
                    </a:lnTo>
                    <a:lnTo>
                      <a:pt x="295096" y="123724"/>
                    </a:lnTo>
                    <a:cubicBezTo>
                      <a:pt x="295096" y="130940"/>
                      <a:pt x="300943" y="136787"/>
                      <a:pt x="308159" y="136787"/>
                    </a:cubicBezTo>
                    <a:cubicBezTo>
                      <a:pt x="315375" y="136787"/>
                      <a:pt x="321222" y="130940"/>
                      <a:pt x="321222" y="123724"/>
                    </a:cubicBezTo>
                    <a:lnTo>
                      <a:pt x="320475" y="0"/>
                    </a:lnTo>
                    <a:lnTo>
                      <a:pt x="196751" y="746"/>
                    </a:lnTo>
                    <a:cubicBezTo>
                      <a:pt x="189536" y="746"/>
                      <a:pt x="183689" y="6594"/>
                      <a:pt x="183689" y="13809"/>
                    </a:cubicBezTo>
                    <a:cubicBezTo>
                      <a:pt x="183689" y="21025"/>
                      <a:pt x="189536" y="26872"/>
                      <a:pt x="196751" y="26872"/>
                    </a:cubicBezTo>
                    <a:lnTo>
                      <a:pt x="275875" y="26374"/>
                    </a:lnTo>
                    <a:lnTo>
                      <a:pt x="0" y="250309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9" name="Google Shape;612;p6">
                <a:extLst>
                  <a:ext uri="{FF2B5EF4-FFF2-40B4-BE49-F238E27FC236}">
                    <a16:creationId xmlns:a16="http://schemas.microsoft.com/office/drawing/2014/main" id="{40A852A5-FD9C-44F8-B3AF-CF901E50BAFA}"/>
                  </a:ext>
                </a:extLst>
              </p:cNvPr>
              <p:cNvSpPr/>
              <p:nvPr/>
            </p:nvSpPr>
            <p:spPr>
              <a:xfrm>
                <a:off x="2747885" y="5082239"/>
                <a:ext cx="437170" cy="271520"/>
              </a:xfrm>
              <a:custGeom>
                <a:avLst/>
                <a:gdLst/>
                <a:ahLst/>
                <a:cxnLst/>
                <a:rect l="l" t="t" r="r" b="b"/>
                <a:pathLst>
                  <a:path w="437170" h="271520" extrusionOk="0">
                    <a:moveTo>
                      <a:pt x="272143" y="0"/>
                    </a:moveTo>
                    <a:lnTo>
                      <a:pt x="272143" y="72219"/>
                    </a:lnTo>
                    <a:lnTo>
                      <a:pt x="136040" y="72219"/>
                    </a:lnTo>
                    <a:lnTo>
                      <a:pt x="136040" y="163846"/>
                    </a:lnTo>
                    <a:lnTo>
                      <a:pt x="0" y="163846"/>
                    </a:lnTo>
                    <a:lnTo>
                      <a:pt x="0" y="271521"/>
                    </a:lnTo>
                    <a:lnTo>
                      <a:pt x="437170" y="271521"/>
                    </a:lnTo>
                    <a:lnTo>
                      <a:pt x="437170" y="0"/>
                    </a:lnTo>
                    <a:close/>
                    <a:moveTo>
                      <a:pt x="28987" y="192833"/>
                    </a:moveTo>
                    <a:lnTo>
                      <a:pt x="136040" y="192833"/>
                    </a:lnTo>
                    <a:lnTo>
                      <a:pt x="136040" y="242596"/>
                    </a:lnTo>
                    <a:lnTo>
                      <a:pt x="28987" y="242596"/>
                    </a:lnTo>
                    <a:close/>
                    <a:moveTo>
                      <a:pt x="165090" y="242596"/>
                    </a:moveTo>
                    <a:lnTo>
                      <a:pt x="165090" y="101206"/>
                    </a:lnTo>
                    <a:lnTo>
                      <a:pt x="272143" y="101206"/>
                    </a:lnTo>
                    <a:lnTo>
                      <a:pt x="272143" y="242534"/>
                    </a:lnTo>
                    <a:close/>
                    <a:moveTo>
                      <a:pt x="408183" y="242596"/>
                    </a:moveTo>
                    <a:lnTo>
                      <a:pt x="301441" y="242596"/>
                    </a:lnTo>
                    <a:lnTo>
                      <a:pt x="301441" y="28987"/>
                    </a:lnTo>
                    <a:lnTo>
                      <a:pt x="408494" y="28987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20" name="Google Shape;613;p6">
              <a:extLst>
                <a:ext uri="{FF2B5EF4-FFF2-40B4-BE49-F238E27FC236}">
                  <a16:creationId xmlns:a16="http://schemas.microsoft.com/office/drawing/2014/main" id="{BEC67367-ED18-4E8F-8D9C-3538BBACFB5A}"/>
                </a:ext>
              </a:extLst>
            </p:cNvPr>
            <p:cNvSpPr/>
            <p:nvPr/>
          </p:nvSpPr>
          <p:spPr>
            <a:xfrm>
              <a:off x="1151931" y="3810937"/>
              <a:ext cx="850392" cy="1046638"/>
            </a:xfrm>
            <a:custGeom>
              <a:avLst/>
              <a:gdLst/>
              <a:ahLst/>
              <a:cxnLst/>
              <a:rect l="l" t="t" r="r" b="b"/>
              <a:pathLst>
                <a:path w="363893" h="447869" extrusionOk="0">
                  <a:moveTo>
                    <a:pt x="265922" y="251927"/>
                  </a:moveTo>
                  <a:lnTo>
                    <a:pt x="293914" y="251927"/>
                  </a:lnTo>
                  <a:lnTo>
                    <a:pt x="293914" y="363894"/>
                  </a:lnTo>
                  <a:lnTo>
                    <a:pt x="69980" y="363894"/>
                  </a:lnTo>
                  <a:lnTo>
                    <a:pt x="69980" y="139959"/>
                  </a:lnTo>
                  <a:lnTo>
                    <a:pt x="181947" y="139959"/>
                  </a:lnTo>
                  <a:lnTo>
                    <a:pt x="181947" y="167951"/>
                  </a:lnTo>
                  <a:lnTo>
                    <a:pt x="97971" y="167951"/>
                  </a:lnTo>
                  <a:lnTo>
                    <a:pt x="97971" y="335902"/>
                  </a:lnTo>
                  <a:lnTo>
                    <a:pt x="265922" y="335902"/>
                  </a:lnTo>
                  <a:close/>
                  <a:moveTo>
                    <a:pt x="294784" y="139959"/>
                  </a:moveTo>
                  <a:lnTo>
                    <a:pt x="313819" y="159616"/>
                  </a:lnTo>
                  <a:lnTo>
                    <a:pt x="189100" y="279918"/>
                  </a:lnTo>
                  <a:lnTo>
                    <a:pt x="125963" y="219083"/>
                  </a:lnTo>
                  <a:lnTo>
                    <a:pt x="144997" y="199364"/>
                  </a:lnTo>
                  <a:lnTo>
                    <a:pt x="189100" y="241912"/>
                  </a:lnTo>
                  <a:close/>
                  <a:moveTo>
                    <a:pt x="335902" y="27992"/>
                  </a:moveTo>
                  <a:cubicBezTo>
                    <a:pt x="351329" y="27955"/>
                    <a:pt x="363832" y="40433"/>
                    <a:pt x="363894" y="55859"/>
                  </a:cubicBezTo>
                  <a:cubicBezTo>
                    <a:pt x="363894" y="55903"/>
                    <a:pt x="363894" y="55940"/>
                    <a:pt x="363894" y="55984"/>
                  </a:cubicBezTo>
                  <a:lnTo>
                    <a:pt x="363894" y="419878"/>
                  </a:lnTo>
                  <a:cubicBezTo>
                    <a:pt x="363894" y="435335"/>
                    <a:pt x="351391" y="447869"/>
                    <a:pt x="335902" y="447869"/>
                  </a:cubicBezTo>
                  <a:lnTo>
                    <a:pt x="27992" y="447869"/>
                  </a:lnTo>
                  <a:cubicBezTo>
                    <a:pt x="12565" y="447838"/>
                    <a:pt x="62" y="435323"/>
                    <a:pt x="0" y="419878"/>
                  </a:cubicBezTo>
                  <a:lnTo>
                    <a:pt x="0" y="55984"/>
                  </a:lnTo>
                  <a:cubicBezTo>
                    <a:pt x="0" y="40526"/>
                    <a:pt x="12502" y="27992"/>
                    <a:pt x="27992" y="27992"/>
                  </a:cubicBezTo>
                  <a:lnTo>
                    <a:pt x="69980" y="27992"/>
                  </a:lnTo>
                  <a:lnTo>
                    <a:pt x="69980" y="55984"/>
                  </a:lnTo>
                  <a:lnTo>
                    <a:pt x="27992" y="55984"/>
                  </a:lnTo>
                  <a:lnTo>
                    <a:pt x="27992" y="419878"/>
                  </a:lnTo>
                  <a:lnTo>
                    <a:pt x="335902" y="419878"/>
                  </a:lnTo>
                  <a:lnTo>
                    <a:pt x="335902" y="55984"/>
                  </a:lnTo>
                  <a:lnTo>
                    <a:pt x="293914" y="55984"/>
                  </a:lnTo>
                  <a:lnTo>
                    <a:pt x="293914" y="27992"/>
                  </a:lnTo>
                  <a:close/>
                  <a:moveTo>
                    <a:pt x="97971" y="27992"/>
                  </a:moveTo>
                  <a:lnTo>
                    <a:pt x="97971" y="0"/>
                  </a:lnTo>
                  <a:lnTo>
                    <a:pt x="265922" y="0"/>
                  </a:lnTo>
                  <a:lnTo>
                    <a:pt x="265922" y="2799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614;p6">
              <a:extLst>
                <a:ext uri="{FF2B5EF4-FFF2-40B4-BE49-F238E27FC236}">
                  <a16:creationId xmlns:a16="http://schemas.microsoft.com/office/drawing/2014/main" id="{CE81B61B-B221-472C-819D-9D7D5CF6D42F}"/>
                </a:ext>
              </a:extLst>
            </p:cNvPr>
            <p:cNvSpPr/>
            <p:nvPr/>
          </p:nvSpPr>
          <p:spPr>
            <a:xfrm>
              <a:off x="5844201" y="3887916"/>
              <a:ext cx="886968" cy="892680"/>
            </a:xfrm>
            <a:custGeom>
              <a:avLst/>
              <a:gdLst/>
              <a:ahLst/>
              <a:cxnLst/>
              <a:rect l="l" t="t" r="r" b="b"/>
              <a:pathLst>
                <a:path w="449596" h="451160" extrusionOk="0">
                  <a:moveTo>
                    <a:pt x="54629" y="451160"/>
                  </a:moveTo>
                  <a:lnTo>
                    <a:pt x="145781" y="391695"/>
                  </a:lnTo>
                  <a:cubicBezTo>
                    <a:pt x="162571" y="396369"/>
                    <a:pt x="179911" y="398776"/>
                    <a:pt x="197340" y="398838"/>
                  </a:cubicBezTo>
                  <a:lnTo>
                    <a:pt x="253723" y="398838"/>
                  </a:lnTo>
                  <a:cubicBezTo>
                    <a:pt x="363832" y="396883"/>
                    <a:pt x="451513" y="306018"/>
                    <a:pt x="449565" y="195885"/>
                  </a:cubicBezTo>
                  <a:cubicBezTo>
                    <a:pt x="447660" y="88496"/>
                    <a:pt x="361088" y="1905"/>
                    <a:pt x="253723" y="0"/>
                  </a:cubicBezTo>
                  <a:lnTo>
                    <a:pt x="197340" y="0"/>
                  </a:lnTo>
                  <a:cubicBezTo>
                    <a:pt x="87111" y="1247"/>
                    <a:pt x="-1234" y="91636"/>
                    <a:pt x="13" y="201882"/>
                  </a:cubicBezTo>
                  <a:cubicBezTo>
                    <a:pt x="583" y="252305"/>
                    <a:pt x="20211" y="300636"/>
                    <a:pt x="54942" y="337180"/>
                  </a:cubicBezTo>
                  <a:close/>
                  <a:moveTo>
                    <a:pt x="28192" y="199388"/>
                  </a:moveTo>
                  <a:cubicBezTo>
                    <a:pt x="27809" y="105515"/>
                    <a:pt x="103488" y="29062"/>
                    <a:pt x="197340" y="28511"/>
                  </a:cubicBezTo>
                  <a:lnTo>
                    <a:pt x="253723" y="28511"/>
                  </a:lnTo>
                  <a:cubicBezTo>
                    <a:pt x="348094" y="30315"/>
                    <a:pt x="423128" y="108304"/>
                    <a:pt x="421323" y="202690"/>
                  </a:cubicBezTo>
                  <a:cubicBezTo>
                    <a:pt x="419563" y="294539"/>
                    <a:pt x="345545" y="368567"/>
                    <a:pt x="253723" y="370328"/>
                  </a:cubicBezTo>
                  <a:lnTo>
                    <a:pt x="197340" y="370328"/>
                  </a:lnTo>
                  <a:cubicBezTo>
                    <a:pt x="182405" y="370221"/>
                    <a:pt x="167551" y="368116"/>
                    <a:pt x="153174" y="364061"/>
                  </a:cubicBezTo>
                  <a:lnTo>
                    <a:pt x="141083" y="360740"/>
                  </a:lnTo>
                  <a:lnTo>
                    <a:pt x="130495" y="367633"/>
                  </a:lnTo>
                  <a:lnTo>
                    <a:pt x="82946" y="398650"/>
                  </a:lnTo>
                  <a:lnTo>
                    <a:pt x="82946" y="337180"/>
                  </a:lnTo>
                  <a:lnTo>
                    <a:pt x="82946" y="325650"/>
                  </a:lnTo>
                  <a:lnTo>
                    <a:pt x="75115" y="317379"/>
                  </a:lnTo>
                  <a:cubicBezTo>
                    <a:pt x="44906" y="285534"/>
                    <a:pt x="28104" y="243288"/>
                    <a:pt x="28192" y="199388"/>
                  </a:cubicBezTo>
                  <a:close/>
                  <a:moveTo>
                    <a:pt x="361414" y="190365"/>
                  </a:moveTo>
                  <a:cubicBezTo>
                    <a:pt x="361414" y="197633"/>
                    <a:pt x="355525" y="203523"/>
                    <a:pt x="348257" y="203523"/>
                  </a:cubicBezTo>
                  <a:cubicBezTo>
                    <a:pt x="340990" y="203523"/>
                    <a:pt x="335102" y="197633"/>
                    <a:pt x="335102" y="190365"/>
                  </a:cubicBezTo>
                  <a:lnTo>
                    <a:pt x="334600" y="147818"/>
                  </a:lnTo>
                  <a:lnTo>
                    <a:pt x="268946" y="218750"/>
                  </a:lnTo>
                  <a:cubicBezTo>
                    <a:pt x="267900" y="219565"/>
                    <a:pt x="266741" y="220216"/>
                    <a:pt x="265500" y="220693"/>
                  </a:cubicBezTo>
                  <a:lnTo>
                    <a:pt x="264999" y="222009"/>
                  </a:lnTo>
                  <a:lnTo>
                    <a:pt x="262243" y="221445"/>
                  </a:lnTo>
                  <a:cubicBezTo>
                    <a:pt x="260075" y="221645"/>
                    <a:pt x="257901" y="221206"/>
                    <a:pt x="255978" y="220191"/>
                  </a:cubicBezTo>
                  <a:lnTo>
                    <a:pt x="205860" y="210604"/>
                  </a:lnTo>
                  <a:lnTo>
                    <a:pt x="134880" y="280722"/>
                  </a:lnTo>
                  <a:cubicBezTo>
                    <a:pt x="129499" y="284958"/>
                    <a:pt x="121718" y="284093"/>
                    <a:pt x="117402" y="278780"/>
                  </a:cubicBezTo>
                  <a:cubicBezTo>
                    <a:pt x="113110" y="273409"/>
                    <a:pt x="113950" y="265577"/>
                    <a:pt x="119281" y="261234"/>
                  </a:cubicBezTo>
                  <a:lnTo>
                    <a:pt x="190825" y="188297"/>
                  </a:lnTo>
                  <a:lnTo>
                    <a:pt x="190825" y="188297"/>
                  </a:lnTo>
                  <a:cubicBezTo>
                    <a:pt x="194533" y="184418"/>
                    <a:pt x="200303" y="183334"/>
                    <a:pt x="205171" y="185602"/>
                  </a:cubicBezTo>
                  <a:lnTo>
                    <a:pt x="257983" y="194124"/>
                  </a:lnTo>
                  <a:lnTo>
                    <a:pt x="316182" y="129019"/>
                  </a:lnTo>
                  <a:lnTo>
                    <a:pt x="267756" y="129583"/>
                  </a:lnTo>
                  <a:cubicBezTo>
                    <a:pt x="260419" y="129583"/>
                    <a:pt x="254474" y="123637"/>
                    <a:pt x="254474" y="116299"/>
                  </a:cubicBezTo>
                  <a:cubicBezTo>
                    <a:pt x="254474" y="108962"/>
                    <a:pt x="260419" y="103015"/>
                    <a:pt x="267756" y="103015"/>
                  </a:cubicBezTo>
                  <a:lnTo>
                    <a:pt x="361038" y="1022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" name="Google Shape;615;p6" descr="Icon&#10;&#10;Description automatically generated">
              <a:extLst>
                <a:ext uri="{FF2B5EF4-FFF2-40B4-BE49-F238E27FC236}">
                  <a16:creationId xmlns:a16="http://schemas.microsoft.com/office/drawing/2014/main" id="{2DA63A7C-DF04-4323-B15A-9DC815DE1D19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8071464" y="3953256"/>
              <a:ext cx="1143000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3" name="Google Shape;607;p6">
              <a:extLst>
                <a:ext uri="{FF2B5EF4-FFF2-40B4-BE49-F238E27FC236}">
                  <a16:creationId xmlns:a16="http://schemas.microsoft.com/office/drawing/2014/main" id="{AB396DC4-FC12-4E1B-8E54-C78A5F2F8EB5}"/>
                </a:ext>
              </a:extLst>
            </p:cNvPr>
            <p:cNvSpPr/>
            <p:nvPr/>
          </p:nvSpPr>
          <p:spPr>
            <a:xfrm>
              <a:off x="10060983" y="3429000"/>
              <a:ext cx="1810512" cy="1810512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608;p6">
              <a:extLst>
                <a:ext uri="{FF2B5EF4-FFF2-40B4-BE49-F238E27FC236}">
                  <a16:creationId xmlns:a16="http://schemas.microsoft.com/office/drawing/2014/main" id="{A9A3D0BB-6130-4A19-A7CA-4D8DB2582C97}"/>
                </a:ext>
              </a:extLst>
            </p:cNvPr>
            <p:cNvSpPr/>
            <p:nvPr/>
          </p:nvSpPr>
          <p:spPr>
            <a:xfrm>
              <a:off x="10028979" y="5803315"/>
              <a:ext cx="1874520" cy="5675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Public/Matured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b="1" dirty="0">
                  <a:solidFill>
                    <a:schemeClr val="tx1"/>
                  </a:solidFill>
                  <a:latin typeface="Georgia" panose="02040502050405020303" pitchFamily="18" charset="0"/>
                  <a:sym typeface="Arial"/>
                </a:rPr>
                <a:t>Regulated</a:t>
              </a:r>
              <a:endParaRPr sz="1200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25" name="Google Shape;609;p6">
              <a:extLst>
                <a:ext uri="{FF2B5EF4-FFF2-40B4-BE49-F238E27FC236}">
                  <a16:creationId xmlns:a16="http://schemas.microsoft.com/office/drawing/2014/main" id="{2B8092E5-2D26-4E00-9E01-7F1335A60EB6}"/>
                </a:ext>
              </a:extLst>
            </p:cNvPr>
            <p:cNvSpPr/>
            <p:nvPr/>
          </p:nvSpPr>
          <p:spPr>
            <a:xfrm rot="10800000">
              <a:off x="10829660" y="5429973"/>
              <a:ext cx="273159" cy="182880"/>
            </a:xfrm>
            <a:prstGeom prst="triangle">
              <a:avLst>
                <a:gd name="adj" fmla="val 5000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4D3FC1AE-C959-4E25-AD8D-4C69F65D5C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6142" y="3876351"/>
              <a:ext cx="760192" cy="812294"/>
            </a:xfrm>
            <a:custGeom>
              <a:avLst/>
              <a:gdLst>
                <a:gd name="T0" fmla="*/ 6412 w 6696"/>
                <a:gd name="T1" fmla="*/ 286 h 6695"/>
                <a:gd name="T2" fmla="*/ 6098 w 6696"/>
                <a:gd name="T3" fmla="*/ 2802 h 6695"/>
                <a:gd name="T4" fmla="*/ 5586 w 6696"/>
                <a:gd name="T5" fmla="*/ 2326 h 6695"/>
                <a:gd name="T6" fmla="*/ 5234 w 6696"/>
                <a:gd name="T7" fmla="*/ 2058 h 6695"/>
                <a:gd name="T8" fmla="*/ 4811 w 6696"/>
                <a:gd name="T9" fmla="*/ 1792 h 6695"/>
                <a:gd name="T10" fmla="*/ 4387 w 6696"/>
                <a:gd name="T11" fmla="*/ 1592 h 6695"/>
                <a:gd name="T12" fmla="*/ 3965 w 6696"/>
                <a:gd name="T13" fmla="*/ 1456 h 6695"/>
                <a:gd name="T14" fmla="*/ 3551 w 6696"/>
                <a:gd name="T15" fmla="*/ 1388 h 6695"/>
                <a:gd name="T16" fmla="*/ 3213 w 6696"/>
                <a:gd name="T17" fmla="*/ 1384 h 6695"/>
                <a:gd name="T18" fmla="*/ 2801 w 6696"/>
                <a:gd name="T19" fmla="*/ 1440 h 6695"/>
                <a:gd name="T20" fmla="*/ 2381 w 6696"/>
                <a:gd name="T21" fmla="*/ 1564 h 6695"/>
                <a:gd name="T22" fmla="*/ 1957 w 6696"/>
                <a:gd name="T23" fmla="*/ 1754 h 6695"/>
                <a:gd name="T24" fmla="*/ 1532 w 6696"/>
                <a:gd name="T25" fmla="*/ 2008 h 6695"/>
                <a:gd name="T26" fmla="*/ 1110 w 6696"/>
                <a:gd name="T27" fmla="*/ 2326 h 6695"/>
                <a:gd name="T28" fmla="*/ 708 w 6696"/>
                <a:gd name="T29" fmla="*/ 2690 h 6695"/>
                <a:gd name="T30" fmla="*/ 286 w 6696"/>
                <a:gd name="T31" fmla="*/ 286 h 6695"/>
                <a:gd name="T32" fmla="*/ 5948 w 6696"/>
                <a:gd name="T33" fmla="*/ 3633 h 6695"/>
                <a:gd name="T34" fmla="*/ 5534 w 6696"/>
                <a:gd name="T35" fmla="*/ 4035 h 6695"/>
                <a:gd name="T36" fmla="*/ 4987 w 6696"/>
                <a:gd name="T37" fmla="*/ 4459 h 6695"/>
                <a:gd name="T38" fmla="*/ 4393 w 6696"/>
                <a:gd name="T39" fmla="*/ 4791 h 6695"/>
                <a:gd name="T40" fmla="*/ 4039 w 6696"/>
                <a:gd name="T41" fmla="*/ 4923 h 6695"/>
                <a:gd name="T42" fmla="*/ 3667 w 6696"/>
                <a:gd name="T43" fmla="*/ 5005 h 6695"/>
                <a:gd name="T44" fmla="*/ 3349 w 6696"/>
                <a:gd name="T45" fmla="*/ 5029 h 6695"/>
                <a:gd name="T46" fmla="*/ 2965 w 6696"/>
                <a:gd name="T47" fmla="*/ 4995 h 6695"/>
                <a:gd name="T48" fmla="*/ 2597 w 6696"/>
                <a:gd name="T49" fmla="*/ 4905 h 6695"/>
                <a:gd name="T50" fmla="*/ 2247 w 6696"/>
                <a:gd name="T51" fmla="*/ 4765 h 6695"/>
                <a:gd name="T52" fmla="*/ 1608 w 6696"/>
                <a:gd name="T53" fmla="*/ 4391 h 6695"/>
                <a:gd name="T54" fmla="*/ 1082 w 6696"/>
                <a:gd name="T55" fmla="*/ 3963 h 6695"/>
                <a:gd name="T56" fmla="*/ 644 w 6696"/>
                <a:gd name="T57" fmla="*/ 3521 h 6695"/>
                <a:gd name="T58" fmla="*/ 748 w 6696"/>
                <a:gd name="T59" fmla="*/ 3062 h 6695"/>
                <a:gd name="T60" fmla="*/ 1160 w 6696"/>
                <a:gd name="T61" fmla="*/ 2660 h 6695"/>
                <a:gd name="T62" fmla="*/ 1709 w 6696"/>
                <a:gd name="T63" fmla="*/ 2236 h 6695"/>
                <a:gd name="T64" fmla="*/ 2303 w 6696"/>
                <a:gd name="T65" fmla="*/ 1904 h 6695"/>
                <a:gd name="T66" fmla="*/ 2657 w 6696"/>
                <a:gd name="T67" fmla="*/ 1772 h 6695"/>
                <a:gd name="T68" fmla="*/ 3029 w 6696"/>
                <a:gd name="T69" fmla="*/ 1688 h 6695"/>
                <a:gd name="T70" fmla="*/ 3349 w 6696"/>
                <a:gd name="T71" fmla="*/ 1666 h 6695"/>
                <a:gd name="T72" fmla="*/ 3731 w 6696"/>
                <a:gd name="T73" fmla="*/ 1698 h 6695"/>
                <a:gd name="T74" fmla="*/ 4099 w 6696"/>
                <a:gd name="T75" fmla="*/ 1790 h 6695"/>
                <a:gd name="T76" fmla="*/ 4449 w 6696"/>
                <a:gd name="T77" fmla="*/ 1930 h 6695"/>
                <a:gd name="T78" fmla="*/ 5088 w 6696"/>
                <a:gd name="T79" fmla="*/ 2304 h 6695"/>
                <a:gd name="T80" fmla="*/ 5614 w 6696"/>
                <a:gd name="T81" fmla="*/ 2732 h 6695"/>
                <a:gd name="T82" fmla="*/ 6052 w 6696"/>
                <a:gd name="T83" fmla="*/ 3174 h 6695"/>
                <a:gd name="T84" fmla="*/ 286 w 6696"/>
                <a:gd name="T85" fmla="*/ 3541 h 6695"/>
                <a:gd name="T86" fmla="*/ 832 w 6696"/>
                <a:gd name="T87" fmla="*/ 4123 h 6695"/>
                <a:gd name="T88" fmla="*/ 1180 w 6696"/>
                <a:gd name="T89" fmla="*/ 4427 h 6695"/>
                <a:gd name="T90" fmla="*/ 1602 w 6696"/>
                <a:gd name="T91" fmla="*/ 4733 h 6695"/>
                <a:gd name="T92" fmla="*/ 2027 w 6696"/>
                <a:gd name="T93" fmla="*/ 4977 h 6695"/>
                <a:gd name="T94" fmla="*/ 2451 w 6696"/>
                <a:gd name="T95" fmla="*/ 5155 h 6695"/>
                <a:gd name="T96" fmla="*/ 2869 w 6696"/>
                <a:gd name="T97" fmla="*/ 5267 h 6695"/>
                <a:gd name="T98" fmla="*/ 3281 w 6696"/>
                <a:gd name="T99" fmla="*/ 5313 h 6695"/>
                <a:gd name="T100" fmla="*/ 3621 w 6696"/>
                <a:gd name="T101" fmla="*/ 5299 h 6695"/>
                <a:gd name="T102" fmla="*/ 4035 w 6696"/>
                <a:gd name="T103" fmla="*/ 5219 h 6695"/>
                <a:gd name="T104" fmla="*/ 4457 w 6696"/>
                <a:gd name="T105" fmla="*/ 5073 h 6695"/>
                <a:gd name="T106" fmla="*/ 4881 w 6696"/>
                <a:gd name="T107" fmla="*/ 4863 h 6695"/>
                <a:gd name="T108" fmla="*/ 5306 w 6696"/>
                <a:gd name="T109" fmla="*/ 4587 h 6695"/>
                <a:gd name="T110" fmla="*/ 5660 w 6696"/>
                <a:gd name="T111" fmla="*/ 4307 h 6695"/>
                <a:gd name="T112" fmla="*/ 6196 w 6696"/>
                <a:gd name="T113" fmla="*/ 3787 h 6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96" h="6695">
                  <a:moveTo>
                    <a:pt x="0" y="0"/>
                  </a:moveTo>
                  <a:lnTo>
                    <a:pt x="0" y="6695"/>
                  </a:lnTo>
                  <a:lnTo>
                    <a:pt x="6696" y="6695"/>
                  </a:lnTo>
                  <a:lnTo>
                    <a:pt x="6696" y="0"/>
                  </a:lnTo>
                  <a:lnTo>
                    <a:pt x="0" y="0"/>
                  </a:lnTo>
                  <a:close/>
                  <a:moveTo>
                    <a:pt x="6412" y="286"/>
                  </a:moveTo>
                  <a:lnTo>
                    <a:pt x="6412" y="3154"/>
                  </a:lnTo>
                  <a:lnTo>
                    <a:pt x="6412" y="3154"/>
                  </a:lnTo>
                  <a:lnTo>
                    <a:pt x="6354" y="3084"/>
                  </a:lnTo>
                  <a:lnTo>
                    <a:pt x="6282" y="3002"/>
                  </a:lnTo>
                  <a:lnTo>
                    <a:pt x="6196" y="2906"/>
                  </a:lnTo>
                  <a:lnTo>
                    <a:pt x="6098" y="2802"/>
                  </a:lnTo>
                  <a:lnTo>
                    <a:pt x="5988" y="2690"/>
                  </a:lnTo>
                  <a:lnTo>
                    <a:pt x="5864" y="2572"/>
                  </a:lnTo>
                  <a:lnTo>
                    <a:pt x="5800" y="2512"/>
                  </a:lnTo>
                  <a:lnTo>
                    <a:pt x="5730" y="2450"/>
                  </a:lnTo>
                  <a:lnTo>
                    <a:pt x="5660" y="2388"/>
                  </a:lnTo>
                  <a:lnTo>
                    <a:pt x="5586" y="2326"/>
                  </a:lnTo>
                  <a:lnTo>
                    <a:pt x="5586" y="2326"/>
                  </a:lnTo>
                  <a:lnTo>
                    <a:pt x="5516" y="2268"/>
                  </a:lnTo>
                  <a:lnTo>
                    <a:pt x="5446" y="2212"/>
                  </a:lnTo>
                  <a:lnTo>
                    <a:pt x="5376" y="2160"/>
                  </a:lnTo>
                  <a:lnTo>
                    <a:pt x="5306" y="2108"/>
                  </a:lnTo>
                  <a:lnTo>
                    <a:pt x="5234" y="2058"/>
                  </a:lnTo>
                  <a:lnTo>
                    <a:pt x="5164" y="2008"/>
                  </a:lnTo>
                  <a:lnTo>
                    <a:pt x="5094" y="1962"/>
                  </a:lnTo>
                  <a:lnTo>
                    <a:pt x="5024" y="1916"/>
                  </a:lnTo>
                  <a:lnTo>
                    <a:pt x="4951" y="1874"/>
                  </a:lnTo>
                  <a:lnTo>
                    <a:pt x="4881" y="1832"/>
                  </a:lnTo>
                  <a:lnTo>
                    <a:pt x="4811" y="1792"/>
                  </a:lnTo>
                  <a:lnTo>
                    <a:pt x="4739" y="1754"/>
                  </a:lnTo>
                  <a:lnTo>
                    <a:pt x="4669" y="1718"/>
                  </a:lnTo>
                  <a:lnTo>
                    <a:pt x="4599" y="1684"/>
                  </a:lnTo>
                  <a:lnTo>
                    <a:pt x="4527" y="1652"/>
                  </a:lnTo>
                  <a:lnTo>
                    <a:pt x="4457" y="1620"/>
                  </a:lnTo>
                  <a:lnTo>
                    <a:pt x="4387" y="1592"/>
                  </a:lnTo>
                  <a:lnTo>
                    <a:pt x="4315" y="1564"/>
                  </a:lnTo>
                  <a:lnTo>
                    <a:pt x="4245" y="1540"/>
                  </a:lnTo>
                  <a:lnTo>
                    <a:pt x="4175" y="1516"/>
                  </a:lnTo>
                  <a:lnTo>
                    <a:pt x="4105" y="1494"/>
                  </a:lnTo>
                  <a:lnTo>
                    <a:pt x="4035" y="1474"/>
                  </a:lnTo>
                  <a:lnTo>
                    <a:pt x="3965" y="1456"/>
                  </a:lnTo>
                  <a:lnTo>
                    <a:pt x="3897" y="1440"/>
                  </a:lnTo>
                  <a:lnTo>
                    <a:pt x="3827" y="1426"/>
                  </a:lnTo>
                  <a:lnTo>
                    <a:pt x="3757" y="1414"/>
                  </a:lnTo>
                  <a:lnTo>
                    <a:pt x="3689" y="1404"/>
                  </a:lnTo>
                  <a:lnTo>
                    <a:pt x="3621" y="1396"/>
                  </a:lnTo>
                  <a:lnTo>
                    <a:pt x="3551" y="1388"/>
                  </a:lnTo>
                  <a:lnTo>
                    <a:pt x="3483" y="1384"/>
                  </a:lnTo>
                  <a:lnTo>
                    <a:pt x="3415" y="1380"/>
                  </a:lnTo>
                  <a:lnTo>
                    <a:pt x="3349" y="1380"/>
                  </a:lnTo>
                  <a:lnTo>
                    <a:pt x="3349" y="1380"/>
                  </a:lnTo>
                  <a:lnTo>
                    <a:pt x="3281" y="1380"/>
                  </a:lnTo>
                  <a:lnTo>
                    <a:pt x="3213" y="1384"/>
                  </a:lnTo>
                  <a:lnTo>
                    <a:pt x="3145" y="1388"/>
                  </a:lnTo>
                  <a:lnTo>
                    <a:pt x="3077" y="1396"/>
                  </a:lnTo>
                  <a:lnTo>
                    <a:pt x="3007" y="1404"/>
                  </a:lnTo>
                  <a:lnTo>
                    <a:pt x="2939" y="1414"/>
                  </a:lnTo>
                  <a:lnTo>
                    <a:pt x="2869" y="1426"/>
                  </a:lnTo>
                  <a:lnTo>
                    <a:pt x="2801" y="1440"/>
                  </a:lnTo>
                  <a:lnTo>
                    <a:pt x="2731" y="1456"/>
                  </a:lnTo>
                  <a:lnTo>
                    <a:pt x="2661" y="1474"/>
                  </a:lnTo>
                  <a:lnTo>
                    <a:pt x="2591" y="1494"/>
                  </a:lnTo>
                  <a:lnTo>
                    <a:pt x="2521" y="1516"/>
                  </a:lnTo>
                  <a:lnTo>
                    <a:pt x="2451" y="1540"/>
                  </a:lnTo>
                  <a:lnTo>
                    <a:pt x="2381" y="1564"/>
                  </a:lnTo>
                  <a:lnTo>
                    <a:pt x="2311" y="1592"/>
                  </a:lnTo>
                  <a:lnTo>
                    <a:pt x="2239" y="1620"/>
                  </a:lnTo>
                  <a:lnTo>
                    <a:pt x="2169" y="1652"/>
                  </a:lnTo>
                  <a:lnTo>
                    <a:pt x="2099" y="1684"/>
                  </a:lnTo>
                  <a:lnTo>
                    <a:pt x="2027" y="1718"/>
                  </a:lnTo>
                  <a:lnTo>
                    <a:pt x="1957" y="1754"/>
                  </a:lnTo>
                  <a:lnTo>
                    <a:pt x="1887" y="1792"/>
                  </a:lnTo>
                  <a:lnTo>
                    <a:pt x="1815" y="1832"/>
                  </a:lnTo>
                  <a:lnTo>
                    <a:pt x="1745" y="1874"/>
                  </a:lnTo>
                  <a:lnTo>
                    <a:pt x="1675" y="1916"/>
                  </a:lnTo>
                  <a:lnTo>
                    <a:pt x="1602" y="1962"/>
                  </a:lnTo>
                  <a:lnTo>
                    <a:pt x="1532" y="2008"/>
                  </a:lnTo>
                  <a:lnTo>
                    <a:pt x="1462" y="2058"/>
                  </a:lnTo>
                  <a:lnTo>
                    <a:pt x="1392" y="2108"/>
                  </a:lnTo>
                  <a:lnTo>
                    <a:pt x="1320" y="2160"/>
                  </a:lnTo>
                  <a:lnTo>
                    <a:pt x="1250" y="2212"/>
                  </a:lnTo>
                  <a:lnTo>
                    <a:pt x="1180" y="2268"/>
                  </a:lnTo>
                  <a:lnTo>
                    <a:pt x="1110" y="2326"/>
                  </a:lnTo>
                  <a:lnTo>
                    <a:pt x="1110" y="2326"/>
                  </a:lnTo>
                  <a:lnTo>
                    <a:pt x="1036" y="2388"/>
                  </a:lnTo>
                  <a:lnTo>
                    <a:pt x="966" y="2450"/>
                  </a:lnTo>
                  <a:lnTo>
                    <a:pt x="898" y="2512"/>
                  </a:lnTo>
                  <a:lnTo>
                    <a:pt x="832" y="2572"/>
                  </a:lnTo>
                  <a:lnTo>
                    <a:pt x="708" y="2690"/>
                  </a:lnTo>
                  <a:lnTo>
                    <a:pt x="598" y="2802"/>
                  </a:lnTo>
                  <a:lnTo>
                    <a:pt x="500" y="2906"/>
                  </a:lnTo>
                  <a:lnTo>
                    <a:pt x="414" y="3002"/>
                  </a:lnTo>
                  <a:lnTo>
                    <a:pt x="342" y="3084"/>
                  </a:lnTo>
                  <a:lnTo>
                    <a:pt x="286" y="3154"/>
                  </a:lnTo>
                  <a:lnTo>
                    <a:pt x="286" y="286"/>
                  </a:lnTo>
                  <a:lnTo>
                    <a:pt x="6412" y="286"/>
                  </a:lnTo>
                  <a:close/>
                  <a:moveTo>
                    <a:pt x="6200" y="3348"/>
                  </a:moveTo>
                  <a:lnTo>
                    <a:pt x="6200" y="3348"/>
                  </a:lnTo>
                  <a:lnTo>
                    <a:pt x="6136" y="3423"/>
                  </a:lnTo>
                  <a:lnTo>
                    <a:pt x="6052" y="3521"/>
                  </a:lnTo>
                  <a:lnTo>
                    <a:pt x="5948" y="3633"/>
                  </a:lnTo>
                  <a:lnTo>
                    <a:pt x="5890" y="3695"/>
                  </a:lnTo>
                  <a:lnTo>
                    <a:pt x="5826" y="3759"/>
                  </a:lnTo>
                  <a:lnTo>
                    <a:pt x="5760" y="3825"/>
                  </a:lnTo>
                  <a:lnTo>
                    <a:pt x="5688" y="3893"/>
                  </a:lnTo>
                  <a:lnTo>
                    <a:pt x="5614" y="3963"/>
                  </a:lnTo>
                  <a:lnTo>
                    <a:pt x="5534" y="4035"/>
                  </a:lnTo>
                  <a:lnTo>
                    <a:pt x="5452" y="4105"/>
                  </a:lnTo>
                  <a:lnTo>
                    <a:pt x="5366" y="4177"/>
                  </a:lnTo>
                  <a:lnTo>
                    <a:pt x="5276" y="4249"/>
                  </a:lnTo>
                  <a:lnTo>
                    <a:pt x="5184" y="4321"/>
                  </a:lnTo>
                  <a:lnTo>
                    <a:pt x="5088" y="4391"/>
                  </a:lnTo>
                  <a:lnTo>
                    <a:pt x="4987" y="4459"/>
                  </a:lnTo>
                  <a:lnTo>
                    <a:pt x="4885" y="4525"/>
                  </a:lnTo>
                  <a:lnTo>
                    <a:pt x="4781" y="4589"/>
                  </a:lnTo>
                  <a:lnTo>
                    <a:pt x="4673" y="4651"/>
                  </a:lnTo>
                  <a:lnTo>
                    <a:pt x="4563" y="4711"/>
                  </a:lnTo>
                  <a:lnTo>
                    <a:pt x="4449" y="4765"/>
                  </a:lnTo>
                  <a:lnTo>
                    <a:pt x="4393" y="4791"/>
                  </a:lnTo>
                  <a:lnTo>
                    <a:pt x="4335" y="4815"/>
                  </a:lnTo>
                  <a:lnTo>
                    <a:pt x="4277" y="4839"/>
                  </a:lnTo>
                  <a:lnTo>
                    <a:pt x="4217" y="4863"/>
                  </a:lnTo>
                  <a:lnTo>
                    <a:pt x="4159" y="4883"/>
                  </a:lnTo>
                  <a:lnTo>
                    <a:pt x="4099" y="4905"/>
                  </a:lnTo>
                  <a:lnTo>
                    <a:pt x="4039" y="4923"/>
                  </a:lnTo>
                  <a:lnTo>
                    <a:pt x="3977" y="4941"/>
                  </a:lnTo>
                  <a:lnTo>
                    <a:pt x="3917" y="4957"/>
                  </a:lnTo>
                  <a:lnTo>
                    <a:pt x="3855" y="4971"/>
                  </a:lnTo>
                  <a:lnTo>
                    <a:pt x="3793" y="4985"/>
                  </a:lnTo>
                  <a:lnTo>
                    <a:pt x="3731" y="4995"/>
                  </a:lnTo>
                  <a:lnTo>
                    <a:pt x="3667" y="5005"/>
                  </a:lnTo>
                  <a:lnTo>
                    <a:pt x="3605" y="5015"/>
                  </a:lnTo>
                  <a:lnTo>
                    <a:pt x="3541" y="5021"/>
                  </a:lnTo>
                  <a:lnTo>
                    <a:pt x="3477" y="5025"/>
                  </a:lnTo>
                  <a:lnTo>
                    <a:pt x="3413" y="5029"/>
                  </a:lnTo>
                  <a:lnTo>
                    <a:pt x="3349" y="5029"/>
                  </a:lnTo>
                  <a:lnTo>
                    <a:pt x="3349" y="5029"/>
                  </a:lnTo>
                  <a:lnTo>
                    <a:pt x="3283" y="5029"/>
                  </a:lnTo>
                  <a:lnTo>
                    <a:pt x="3219" y="5025"/>
                  </a:lnTo>
                  <a:lnTo>
                    <a:pt x="3155" y="5021"/>
                  </a:lnTo>
                  <a:lnTo>
                    <a:pt x="3093" y="5015"/>
                  </a:lnTo>
                  <a:lnTo>
                    <a:pt x="3029" y="5005"/>
                  </a:lnTo>
                  <a:lnTo>
                    <a:pt x="2965" y="4995"/>
                  </a:lnTo>
                  <a:lnTo>
                    <a:pt x="2903" y="4985"/>
                  </a:lnTo>
                  <a:lnTo>
                    <a:pt x="2841" y="4971"/>
                  </a:lnTo>
                  <a:lnTo>
                    <a:pt x="2779" y="4957"/>
                  </a:lnTo>
                  <a:lnTo>
                    <a:pt x="2719" y="4941"/>
                  </a:lnTo>
                  <a:lnTo>
                    <a:pt x="2657" y="4923"/>
                  </a:lnTo>
                  <a:lnTo>
                    <a:pt x="2597" y="4905"/>
                  </a:lnTo>
                  <a:lnTo>
                    <a:pt x="2537" y="4883"/>
                  </a:lnTo>
                  <a:lnTo>
                    <a:pt x="2479" y="4863"/>
                  </a:lnTo>
                  <a:lnTo>
                    <a:pt x="2419" y="4839"/>
                  </a:lnTo>
                  <a:lnTo>
                    <a:pt x="2361" y="4815"/>
                  </a:lnTo>
                  <a:lnTo>
                    <a:pt x="2303" y="4791"/>
                  </a:lnTo>
                  <a:lnTo>
                    <a:pt x="2247" y="4765"/>
                  </a:lnTo>
                  <a:lnTo>
                    <a:pt x="2133" y="4709"/>
                  </a:lnTo>
                  <a:lnTo>
                    <a:pt x="2023" y="4651"/>
                  </a:lnTo>
                  <a:lnTo>
                    <a:pt x="1917" y="4589"/>
                  </a:lnTo>
                  <a:lnTo>
                    <a:pt x="1811" y="4525"/>
                  </a:lnTo>
                  <a:lnTo>
                    <a:pt x="1709" y="4459"/>
                  </a:lnTo>
                  <a:lnTo>
                    <a:pt x="1608" y="4391"/>
                  </a:lnTo>
                  <a:lnTo>
                    <a:pt x="1512" y="4321"/>
                  </a:lnTo>
                  <a:lnTo>
                    <a:pt x="1420" y="4249"/>
                  </a:lnTo>
                  <a:lnTo>
                    <a:pt x="1330" y="4177"/>
                  </a:lnTo>
                  <a:lnTo>
                    <a:pt x="1244" y="4105"/>
                  </a:lnTo>
                  <a:lnTo>
                    <a:pt x="1162" y="4035"/>
                  </a:lnTo>
                  <a:lnTo>
                    <a:pt x="1082" y="3963"/>
                  </a:lnTo>
                  <a:lnTo>
                    <a:pt x="1008" y="3893"/>
                  </a:lnTo>
                  <a:lnTo>
                    <a:pt x="936" y="3825"/>
                  </a:lnTo>
                  <a:lnTo>
                    <a:pt x="870" y="3759"/>
                  </a:lnTo>
                  <a:lnTo>
                    <a:pt x="806" y="3695"/>
                  </a:lnTo>
                  <a:lnTo>
                    <a:pt x="748" y="3633"/>
                  </a:lnTo>
                  <a:lnTo>
                    <a:pt x="644" y="3521"/>
                  </a:lnTo>
                  <a:lnTo>
                    <a:pt x="560" y="3423"/>
                  </a:lnTo>
                  <a:lnTo>
                    <a:pt x="496" y="3348"/>
                  </a:lnTo>
                  <a:lnTo>
                    <a:pt x="496" y="3348"/>
                  </a:lnTo>
                  <a:lnTo>
                    <a:pt x="560" y="3270"/>
                  </a:lnTo>
                  <a:lnTo>
                    <a:pt x="644" y="3174"/>
                  </a:lnTo>
                  <a:lnTo>
                    <a:pt x="748" y="3062"/>
                  </a:lnTo>
                  <a:lnTo>
                    <a:pt x="806" y="3000"/>
                  </a:lnTo>
                  <a:lnTo>
                    <a:pt x="868" y="2936"/>
                  </a:lnTo>
                  <a:lnTo>
                    <a:pt x="936" y="2870"/>
                  </a:lnTo>
                  <a:lnTo>
                    <a:pt x="1006" y="2800"/>
                  </a:lnTo>
                  <a:lnTo>
                    <a:pt x="1082" y="2732"/>
                  </a:lnTo>
                  <a:lnTo>
                    <a:pt x="1160" y="2660"/>
                  </a:lnTo>
                  <a:lnTo>
                    <a:pt x="1244" y="2588"/>
                  </a:lnTo>
                  <a:lnTo>
                    <a:pt x="1330" y="2516"/>
                  </a:lnTo>
                  <a:lnTo>
                    <a:pt x="1418" y="2446"/>
                  </a:lnTo>
                  <a:lnTo>
                    <a:pt x="1512" y="2374"/>
                  </a:lnTo>
                  <a:lnTo>
                    <a:pt x="1608" y="2304"/>
                  </a:lnTo>
                  <a:lnTo>
                    <a:pt x="1709" y="2236"/>
                  </a:lnTo>
                  <a:lnTo>
                    <a:pt x="1811" y="2168"/>
                  </a:lnTo>
                  <a:lnTo>
                    <a:pt x="1915" y="2104"/>
                  </a:lnTo>
                  <a:lnTo>
                    <a:pt x="2023" y="2042"/>
                  </a:lnTo>
                  <a:lnTo>
                    <a:pt x="2133" y="1984"/>
                  </a:lnTo>
                  <a:lnTo>
                    <a:pt x="2245" y="1930"/>
                  </a:lnTo>
                  <a:lnTo>
                    <a:pt x="2303" y="1904"/>
                  </a:lnTo>
                  <a:lnTo>
                    <a:pt x="2361" y="1878"/>
                  </a:lnTo>
                  <a:lnTo>
                    <a:pt x="2419" y="1854"/>
                  </a:lnTo>
                  <a:lnTo>
                    <a:pt x="2477" y="1832"/>
                  </a:lnTo>
                  <a:lnTo>
                    <a:pt x="2537" y="1810"/>
                  </a:lnTo>
                  <a:lnTo>
                    <a:pt x="2597" y="1790"/>
                  </a:lnTo>
                  <a:lnTo>
                    <a:pt x="2657" y="1772"/>
                  </a:lnTo>
                  <a:lnTo>
                    <a:pt x="2717" y="1754"/>
                  </a:lnTo>
                  <a:lnTo>
                    <a:pt x="2779" y="1738"/>
                  </a:lnTo>
                  <a:lnTo>
                    <a:pt x="2841" y="1724"/>
                  </a:lnTo>
                  <a:lnTo>
                    <a:pt x="2903" y="1710"/>
                  </a:lnTo>
                  <a:lnTo>
                    <a:pt x="2965" y="1698"/>
                  </a:lnTo>
                  <a:lnTo>
                    <a:pt x="3029" y="1688"/>
                  </a:lnTo>
                  <a:lnTo>
                    <a:pt x="3091" y="1680"/>
                  </a:lnTo>
                  <a:lnTo>
                    <a:pt x="3155" y="1674"/>
                  </a:lnTo>
                  <a:lnTo>
                    <a:pt x="3219" y="1670"/>
                  </a:lnTo>
                  <a:lnTo>
                    <a:pt x="3283" y="1666"/>
                  </a:lnTo>
                  <a:lnTo>
                    <a:pt x="3349" y="1666"/>
                  </a:lnTo>
                  <a:lnTo>
                    <a:pt x="3349" y="1666"/>
                  </a:lnTo>
                  <a:lnTo>
                    <a:pt x="3413" y="1666"/>
                  </a:lnTo>
                  <a:lnTo>
                    <a:pt x="3477" y="1670"/>
                  </a:lnTo>
                  <a:lnTo>
                    <a:pt x="3541" y="1674"/>
                  </a:lnTo>
                  <a:lnTo>
                    <a:pt x="3605" y="1680"/>
                  </a:lnTo>
                  <a:lnTo>
                    <a:pt x="3667" y="1688"/>
                  </a:lnTo>
                  <a:lnTo>
                    <a:pt x="3731" y="1698"/>
                  </a:lnTo>
                  <a:lnTo>
                    <a:pt x="3793" y="1710"/>
                  </a:lnTo>
                  <a:lnTo>
                    <a:pt x="3855" y="1724"/>
                  </a:lnTo>
                  <a:lnTo>
                    <a:pt x="3917" y="1738"/>
                  </a:lnTo>
                  <a:lnTo>
                    <a:pt x="3977" y="1754"/>
                  </a:lnTo>
                  <a:lnTo>
                    <a:pt x="4039" y="1772"/>
                  </a:lnTo>
                  <a:lnTo>
                    <a:pt x="4099" y="1790"/>
                  </a:lnTo>
                  <a:lnTo>
                    <a:pt x="4159" y="1810"/>
                  </a:lnTo>
                  <a:lnTo>
                    <a:pt x="4217" y="1832"/>
                  </a:lnTo>
                  <a:lnTo>
                    <a:pt x="4277" y="1854"/>
                  </a:lnTo>
                  <a:lnTo>
                    <a:pt x="4335" y="1878"/>
                  </a:lnTo>
                  <a:lnTo>
                    <a:pt x="4393" y="1904"/>
                  </a:lnTo>
                  <a:lnTo>
                    <a:pt x="4449" y="1930"/>
                  </a:lnTo>
                  <a:lnTo>
                    <a:pt x="4563" y="1984"/>
                  </a:lnTo>
                  <a:lnTo>
                    <a:pt x="4673" y="2042"/>
                  </a:lnTo>
                  <a:lnTo>
                    <a:pt x="4781" y="2104"/>
                  </a:lnTo>
                  <a:lnTo>
                    <a:pt x="4885" y="2168"/>
                  </a:lnTo>
                  <a:lnTo>
                    <a:pt x="4987" y="2236"/>
                  </a:lnTo>
                  <a:lnTo>
                    <a:pt x="5088" y="2304"/>
                  </a:lnTo>
                  <a:lnTo>
                    <a:pt x="5184" y="2374"/>
                  </a:lnTo>
                  <a:lnTo>
                    <a:pt x="5276" y="2446"/>
                  </a:lnTo>
                  <a:lnTo>
                    <a:pt x="5366" y="2516"/>
                  </a:lnTo>
                  <a:lnTo>
                    <a:pt x="5452" y="2588"/>
                  </a:lnTo>
                  <a:lnTo>
                    <a:pt x="5534" y="2660"/>
                  </a:lnTo>
                  <a:lnTo>
                    <a:pt x="5614" y="2732"/>
                  </a:lnTo>
                  <a:lnTo>
                    <a:pt x="5688" y="2802"/>
                  </a:lnTo>
                  <a:lnTo>
                    <a:pt x="5760" y="2870"/>
                  </a:lnTo>
                  <a:lnTo>
                    <a:pt x="5826" y="2936"/>
                  </a:lnTo>
                  <a:lnTo>
                    <a:pt x="5890" y="3000"/>
                  </a:lnTo>
                  <a:lnTo>
                    <a:pt x="5948" y="3062"/>
                  </a:lnTo>
                  <a:lnTo>
                    <a:pt x="6052" y="3174"/>
                  </a:lnTo>
                  <a:lnTo>
                    <a:pt x="6136" y="3270"/>
                  </a:lnTo>
                  <a:lnTo>
                    <a:pt x="6200" y="3348"/>
                  </a:lnTo>
                  <a:lnTo>
                    <a:pt x="6200" y="3348"/>
                  </a:lnTo>
                  <a:close/>
                  <a:moveTo>
                    <a:pt x="286" y="6409"/>
                  </a:moveTo>
                  <a:lnTo>
                    <a:pt x="286" y="3541"/>
                  </a:lnTo>
                  <a:lnTo>
                    <a:pt x="286" y="3541"/>
                  </a:lnTo>
                  <a:lnTo>
                    <a:pt x="342" y="3611"/>
                  </a:lnTo>
                  <a:lnTo>
                    <a:pt x="414" y="3693"/>
                  </a:lnTo>
                  <a:lnTo>
                    <a:pt x="500" y="3787"/>
                  </a:lnTo>
                  <a:lnTo>
                    <a:pt x="598" y="3891"/>
                  </a:lnTo>
                  <a:lnTo>
                    <a:pt x="708" y="4005"/>
                  </a:lnTo>
                  <a:lnTo>
                    <a:pt x="832" y="4123"/>
                  </a:lnTo>
                  <a:lnTo>
                    <a:pt x="898" y="4183"/>
                  </a:lnTo>
                  <a:lnTo>
                    <a:pt x="966" y="4245"/>
                  </a:lnTo>
                  <a:lnTo>
                    <a:pt x="1036" y="4307"/>
                  </a:lnTo>
                  <a:lnTo>
                    <a:pt x="1110" y="4369"/>
                  </a:lnTo>
                  <a:lnTo>
                    <a:pt x="1110" y="4369"/>
                  </a:lnTo>
                  <a:lnTo>
                    <a:pt x="1180" y="4427"/>
                  </a:lnTo>
                  <a:lnTo>
                    <a:pt x="1250" y="4481"/>
                  </a:lnTo>
                  <a:lnTo>
                    <a:pt x="1320" y="4535"/>
                  </a:lnTo>
                  <a:lnTo>
                    <a:pt x="1392" y="4587"/>
                  </a:lnTo>
                  <a:lnTo>
                    <a:pt x="1462" y="4637"/>
                  </a:lnTo>
                  <a:lnTo>
                    <a:pt x="1532" y="4685"/>
                  </a:lnTo>
                  <a:lnTo>
                    <a:pt x="1602" y="4733"/>
                  </a:lnTo>
                  <a:lnTo>
                    <a:pt x="1675" y="4777"/>
                  </a:lnTo>
                  <a:lnTo>
                    <a:pt x="1745" y="4821"/>
                  </a:lnTo>
                  <a:lnTo>
                    <a:pt x="1815" y="4863"/>
                  </a:lnTo>
                  <a:lnTo>
                    <a:pt x="1887" y="4903"/>
                  </a:lnTo>
                  <a:lnTo>
                    <a:pt x="1957" y="4941"/>
                  </a:lnTo>
                  <a:lnTo>
                    <a:pt x="2027" y="4977"/>
                  </a:lnTo>
                  <a:lnTo>
                    <a:pt x="2099" y="5011"/>
                  </a:lnTo>
                  <a:lnTo>
                    <a:pt x="2169" y="5043"/>
                  </a:lnTo>
                  <a:lnTo>
                    <a:pt x="2239" y="5073"/>
                  </a:lnTo>
                  <a:lnTo>
                    <a:pt x="2311" y="5103"/>
                  </a:lnTo>
                  <a:lnTo>
                    <a:pt x="2381" y="5129"/>
                  </a:lnTo>
                  <a:lnTo>
                    <a:pt x="2451" y="5155"/>
                  </a:lnTo>
                  <a:lnTo>
                    <a:pt x="2521" y="5179"/>
                  </a:lnTo>
                  <a:lnTo>
                    <a:pt x="2591" y="5201"/>
                  </a:lnTo>
                  <a:lnTo>
                    <a:pt x="2661" y="5219"/>
                  </a:lnTo>
                  <a:lnTo>
                    <a:pt x="2731" y="5237"/>
                  </a:lnTo>
                  <a:lnTo>
                    <a:pt x="2801" y="5253"/>
                  </a:lnTo>
                  <a:lnTo>
                    <a:pt x="2869" y="5267"/>
                  </a:lnTo>
                  <a:lnTo>
                    <a:pt x="2939" y="5281"/>
                  </a:lnTo>
                  <a:lnTo>
                    <a:pt x="3007" y="5291"/>
                  </a:lnTo>
                  <a:lnTo>
                    <a:pt x="3077" y="5299"/>
                  </a:lnTo>
                  <a:lnTo>
                    <a:pt x="3145" y="5305"/>
                  </a:lnTo>
                  <a:lnTo>
                    <a:pt x="3213" y="5311"/>
                  </a:lnTo>
                  <a:lnTo>
                    <a:pt x="3281" y="5313"/>
                  </a:lnTo>
                  <a:lnTo>
                    <a:pt x="3349" y="5315"/>
                  </a:lnTo>
                  <a:lnTo>
                    <a:pt x="3349" y="5315"/>
                  </a:lnTo>
                  <a:lnTo>
                    <a:pt x="3415" y="5313"/>
                  </a:lnTo>
                  <a:lnTo>
                    <a:pt x="3483" y="5311"/>
                  </a:lnTo>
                  <a:lnTo>
                    <a:pt x="3551" y="5305"/>
                  </a:lnTo>
                  <a:lnTo>
                    <a:pt x="3621" y="5299"/>
                  </a:lnTo>
                  <a:lnTo>
                    <a:pt x="3689" y="5291"/>
                  </a:lnTo>
                  <a:lnTo>
                    <a:pt x="3757" y="5281"/>
                  </a:lnTo>
                  <a:lnTo>
                    <a:pt x="3827" y="5267"/>
                  </a:lnTo>
                  <a:lnTo>
                    <a:pt x="3897" y="5253"/>
                  </a:lnTo>
                  <a:lnTo>
                    <a:pt x="3965" y="5237"/>
                  </a:lnTo>
                  <a:lnTo>
                    <a:pt x="4035" y="5219"/>
                  </a:lnTo>
                  <a:lnTo>
                    <a:pt x="4105" y="5201"/>
                  </a:lnTo>
                  <a:lnTo>
                    <a:pt x="4175" y="5179"/>
                  </a:lnTo>
                  <a:lnTo>
                    <a:pt x="4245" y="5155"/>
                  </a:lnTo>
                  <a:lnTo>
                    <a:pt x="4315" y="5129"/>
                  </a:lnTo>
                  <a:lnTo>
                    <a:pt x="4387" y="5103"/>
                  </a:lnTo>
                  <a:lnTo>
                    <a:pt x="4457" y="5073"/>
                  </a:lnTo>
                  <a:lnTo>
                    <a:pt x="4527" y="5043"/>
                  </a:lnTo>
                  <a:lnTo>
                    <a:pt x="4599" y="5011"/>
                  </a:lnTo>
                  <a:lnTo>
                    <a:pt x="4669" y="4977"/>
                  </a:lnTo>
                  <a:lnTo>
                    <a:pt x="4739" y="4941"/>
                  </a:lnTo>
                  <a:lnTo>
                    <a:pt x="4811" y="4903"/>
                  </a:lnTo>
                  <a:lnTo>
                    <a:pt x="4881" y="4863"/>
                  </a:lnTo>
                  <a:lnTo>
                    <a:pt x="4951" y="4821"/>
                  </a:lnTo>
                  <a:lnTo>
                    <a:pt x="5024" y="4777"/>
                  </a:lnTo>
                  <a:lnTo>
                    <a:pt x="5094" y="4733"/>
                  </a:lnTo>
                  <a:lnTo>
                    <a:pt x="5164" y="4685"/>
                  </a:lnTo>
                  <a:lnTo>
                    <a:pt x="5234" y="4637"/>
                  </a:lnTo>
                  <a:lnTo>
                    <a:pt x="5306" y="4587"/>
                  </a:lnTo>
                  <a:lnTo>
                    <a:pt x="5376" y="4535"/>
                  </a:lnTo>
                  <a:lnTo>
                    <a:pt x="5446" y="4481"/>
                  </a:lnTo>
                  <a:lnTo>
                    <a:pt x="5516" y="4427"/>
                  </a:lnTo>
                  <a:lnTo>
                    <a:pt x="5586" y="4369"/>
                  </a:lnTo>
                  <a:lnTo>
                    <a:pt x="5586" y="4369"/>
                  </a:lnTo>
                  <a:lnTo>
                    <a:pt x="5660" y="4307"/>
                  </a:lnTo>
                  <a:lnTo>
                    <a:pt x="5730" y="4245"/>
                  </a:lnTo>
                  <a:lnTo>
                    <a:pt x="5800" y="4183"/>
                  </a:lnTo>
                  <a:lnTo>
                    <a:pt x="5864" y="4123"/>
                  </a:lnTo>
                  <a:lnTo>
                    <a:pt x="5988" y="4003"/>
                  </a:lnTo>
                  <a:lnTo>
                    <a:pt x="6098" y="3891"/>
                  </a:lnTo>
                  <a:lnTo>
                    <a:pt x="6196" y="3787"/>
                  </a:lnTo>
                  <a:lnTo>
                    <a:pt x="6282" y="3693"/>
                  </a:lnTo>
                  <a:lnTo>
                    <a:pt x="6354" y="3611"/>
                  </a:lnTo>
                  <a:lnTo>
                    <a:pt x="6412" y="3541"/>
                  </a:lnTo>
                  <a:lnTo>
                    <a:pt x="6412" y="6409"/>
                  </a:lnTo>
                  <a:lnTo>
                    <a:pt x="286" y="64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9" name="Freeform 18">
              <a:extLst>
                <a:ext uri="{FF2B5EF4-FFF2-40B4-BE49-F238E27FC236}">
                  <a16:creationId xmlns:a16="http://schemas.microsoft.com/office/drawing/2014/main" id="{20233E8F-8BD1-45E0-95DB-DC695A2258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6852" y="4098175"/>
              <a:ext cx="338771" cy="361923"/>
            </a:xfrm>
            <a:custGeom>
              <a:avLst/>
              <a:gdLst>
                <a:gd name="T0" fmla="*/ 1264 w 2984"/>
                <a:gd name="T1" fmla="*/ 16 h 2983"/>
                <a:gd name="T2" fmla="*/ 910 w 2984"/>
                <a:gd name="T3" fmla="*/ 118 h 2983"/>
                <a:gd name="T4" fmla="*/ 600 w 2984"/>
                <a:gd name="T5" fmla="*/ 296 h 2983"/>
                <a:gd name="T6" fmla="*/ 340 w 2984"/>
                <a:gd name="T7" fmla="*/ 544 h 2983"/>
                <a:gd name="T8" fmla="*/ 146 w 2984"/>
                <a:gd name="T9" fmla="*/ 846 h 2983"/>
                <a:gd name="T10" fmla="*/ 30 w 2984"/>
                <a:gd name="T11" fmla="*/ 1192 h 2983"/>
                <a:gd name="T12" fmla="*/ 0 w 2984"/>
                <a:gd name="T13" fmla="*/ 1492 h 2983"/>
                <a:gd name="T14" fmla="*/ 46 w 2984"/>
                <a:gd name="T15" fmla="*/ 1863 h 2983"/>
                <a:gd name="T16" fmla="*/ 180 w 2984"/>
                <a:gd name="T17" fmla="*/ 2201 h 2983"/>
                <a:gd name="T18" fmla="*/ 388 w 2984"/>
                <a:gd name="T19" fmla="*/ 2493 h 2983"/>
                <a:gd name="T20" fmla="*/ 658 w 2984"/>
                <a:gd name="T21" fmla="*/ 2727 h 2983"/>
                <a:gd name="T22" fmla="*/ 978 w 2984"/>
                <a:gd name="T23" fmla="*/ 2893 h 2983"/>
                <a:gd name="T24" fmla="*/ 1338 w 2984"/>
                <a:gd name="T25" fmla="*/ 2975 h 2983"/>
                <a:gd name="T26" fmla="*/ 1644 w 2984"/>
                <a:gd name="T27" fmla="*/ 2975 h 2983"/>
                <a:gd name="T28" fmla="*/ 2004 w 2984"/>
                <a:gd name="T29" fmla="*/ 2893 h 2983"/>
                <a:gd name="T30" fmla="*/ 2324 w 2984"/>
                <a:gd name="T31" fmla="*/ 2727 h 2983"/>
                <a:gd name="T32" fmla="*/ 2596 w 2984"/>
                <a:gd name="T33" fmla="*/ 2493 h 2983"/>
                <a:gd name="T34" fmla="*/ 2802 w 2984"/>
                <a:gd name="T35" fmla="*/ 2201 h 2983"/>
                <a:gd name="T36" fmla="*/ 2936 w 2984"/>
                <a:gd name="T37" fmla="*/ 1863 h 2983"/>
                <a:gd name="T38" fmla="*/ 2984 w 2984"/>
                <a:gd name="T39" fmla="*/ 1492 h 2983"/>
                <a:gd name="T40" fmla="*/ 2952 w 2984"/>
                <a:gd name="T41" fmla="*/ 1192 h 2983"/>
                <a:gd name="T42" fmla="*/ 2836 w 2984"/>
                <a:gd name="T43" fmla="*/ 846 h 2983"/>
                <a:gd name="T44" fmla="*/ 2642 w 2984"/>
                <a:gd name="T45" fmla="*/ 544 h 2983"/>
                <a:gd name="T46" fmla="*/ 2384 w 2984"/>
                <a:gd name="T47" fmla="*/ 296 h 2983"/>
                <a:gd name="T48" fmla="*/ 2072 w 2984"/>
                <a:gd name="T49" fmla="*/ 118 h 2983"/>
                <a:gd name="T50" fmla="*/ 1718 w 2984"/>
                <a:gd name="T51" fmla="*/ 16 h 2983"/>
                <a:gd name="T52" fmla="*/ 2688 w 2984"/>
                <a:gd name="T53" fmla="*/ 1348 h 2983"/>
                <a:gd name="T54" fmla="*/ 1736 w 2984"/>
                <a:gd name="T55" fmla="*/ 312 h 2983"/>
                <a:gd name="T56" fmla="*/ 1976 w 2984"/>
                <a:gd name="T57" fmla="*/ 388 h 2983"/>
                <a:gd name="T58" fmla="*/ 2192 w 2984"/>
                <a:gd name="T59" fmla="*/ 512 h 2983"/>
                <a:gd name="T60" fmla="*/ 2378 w 2984"/>
                <a:gd name="T61" fmla="*/ 676 h 2983"/>
                <a:gd name="T62" fmla="*/ 2526 w 2984"/>
                <a:gd name="T63" fmla="*/ 874 h 2983"/>
                <a:gd name="T64" fmla="*/ 2632 w 2984"/>
                <a:gd name="T65" fmla="*/ 1100 h 2983"/>
                <a:gd name="T66" fmla="*/ 2688 w 2984"/>
                <a:gd name="T67" fmla="*/ 1348 h 2983"/>
                <a:gd name="T68" fmla="*/ 294 w 2984"/>
                <a:gd name="T69" fmla="*/ 1348 h 2983"/>
                <a:gd name="T70" fmla="*/ 350 w 2984"/>
                <a:gd name="T71" fmla="*/ 1100 h 2983"/>
                <a:gd name="T72" fmla="*/ 456 w 2984"/>
                <a:gd name="T73" fmla="*/ 874 h 2983"/>
                <a:gd name="T74" fmla="*/ 604 w 2984"/>
                <a:gd name="T75" fmla="*/ 676 h 2983"/>
                <a:gd name="T76" fmla="*/ 790 w 2984"/>
                <a:gd name="T77" fmla="*/ 512 h 2983"/>
                <a:gd name="T78" fmla="*/ 1006 w 2984"/>
                <a:gd name="T79" fmla="*/ 388 h 2983"/>
                <a:gd name="T80" fmla="*/ 1246 w 2984"/>
                <a:gd name="T81" fmla="*/ 312 h 2983"/>
                <a:gd name="T82" fmla="*/ 1348 w 2984"/>
                <a:gd name="T83" fmla="*/ 1633 h 2983"/>
                <a:gd name="T84" fmla="*/ 1196 w 2984"/>
                <a:gd name="T85" fmla="*/ 2661 h 2983"/>
                <a:gd name="T86" fmla="*/ 960 w 2984"/>
                <a:gd name="T87" fmla="*/ 2573 h 2983"/>
                <a:gd name="T88" fmla="*/ 750 w 2984"/>
                <a:gd name="T89" fmla="*/ 2441 h 2983"/>
                <a:gd name="T90" fmla="*/ 572 w 2984"/>
                <a:gd name="T91" fmla="*/ 2271 h 2983"/>
                <a:gd name="T92" fmla="*/ 432 w 2984"/>
                <a:gd name="T93" fmla="*/ 2065 h 2983"/>
                <a:gd name="T94" fmla="*/ 336 w 2984"/>
                <a:gd name="T95" fmla="*/ 1835 h 2983"/>
                <a:gd name="T96" fmla="*/ 294 w 2984"/>
                <a:gd name="T97" fmla="*/ 1633 h 2983"/>
                <a:gd name="T98" fmla="*/ 2682 w 2984"/>
                <a:gd name="T99" fmla="*/ 1685 h 2983"/>
                <a:gd name="T100" fmla="*/ 2614 w 2984"/>
                <a:gd name="T101" fmla="*/ 1929 h 2983"/>
                <a:gd name="T102" fmla="*/ 2500 w 2984"/>
                <a:gd name="T103" fmla="*/ 2151 h 2983"/>
                <a:gd name="T104" fmla="*/ 2344 w 2984"/>
                <a:gd name="T105" fmla="*/ 2343 h 2983"/>
                <a:gd name="T106" fmla="*/ 2152 w 2984"/>
                <a:gd name="T107" fmla="*/ 2499 h 2983"/>
                <a:gd name="T108" fmla="*/ 1930 w 2984"/>
                <a:gd name="T109" fmla="*/ 2613 h 2983"/>
                <a:gd name="T110" fmla="*/ 1686 w 2984"/>
                <a:gd name="T111" fmla="*/ 2681 h 2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84" h="2983">
                  <a:moveTo>
                    <a:pt x="1492" y="0"/>
                  </a:moveTo>
                  <a:lnTo>
                    <a:pt x="1492" y="0"/>
                  </a:lnTo>
                  <a:lnTo>
                    <a:pt x="1414" y="2"/>
                  </a:lnTo>
                  <a:lnTo>
                    <a:pt x="1338" y="8"/>
                  </a:lnTo>
                  <a:lnTo>
                    <a:pt x="1264" y="16"/>
                  </a:lnTo>
                  <a:lnTo>
                    <a:pt x="1190" y="30"/>
                  </a:lnTo>
                  <a:lnTo>
                    <a:pt x="1118" y="46"/>
                  </a:lnTo>
                  <a:lnTo>
                    <a:pt x="1048" y="66"/>
                  </a:lnTo>
                  <a:lnTo>
                    <a:pt x="978" y="90"/>
                  </a:lnTo>
                  <a:lnTo>
                    <a:pt x="910" y="118"/>
                  </a:lnTo>
                  <a:lnTo>
                    <a:pt x="844" y="148"/>
                  </a:lnTo>
                  <a:lnTo>
                    <a:pt x="780" y="180"/>
                  </a:lnTo>
                  <a:lnTo>
                    <a:pt x="718" y="216"/>
                  </a:lnTo>
                  <a:lnTo>
                    <a:pt x="658" y="254"/>
                  </a:lnTo>
                  <a:lnTo>
                    <a:pt x="600" y="296"/>
                  </a:lnTo>
                  <a:lnTo>
                    <a:pt x="542" y="340"/>
                  </a:lnTo>
                  <a:lnTo>
                    <a:pt x="488" y="388"/>
                  </a:lnTo>
                  <a:lnTo>
                    <a:pt x="436" y="438"/>
                  </a:lnTo>
                  <a:lnTo>
                    <a:pt x="388" y="490"/>
                  </a:lnTo>
                  <a:lnTo>
                    <a:pt x="340" y="544"/>
                  </a:lnTo>
                  <a:lnTo>
                    <a:pt x="296" y="600"/>
                  </a:lnTo>
                  <a:lnTo>
                    <a:pt x="254" y="658"/>
                  </a:lnTo>
                  <a:lnTo>
                    <a:pt x="216" y="718"/>
                  </a:lnTo>
                  <a:lnTo>
                    <a:pt x="180" y="782"/>
                  </a:lnTo>
                  <a:lnTo>
                    <a:pt x="146" y="846"/>
                  </a:lnTo>
                  <a:lnTo>
                    <a:pt x="116" y="912"/>
                  </a:lnTo>
                  <a:lnTo>
                    <a:pt x="90" y="980"/>
                  </a:lnTo>
                  <a:lnTo>
                    <a:pt x="66" y="1048"/>
                  </a:lnTo>
                  <a:lnTo>
                    <a:pt x="46" y="1120"/>
                  </a:lnTo>
                  <a:lnTo>
                    <a:pt x="30" y="1192"/>
                  </a:lnTo>
                  <a:lnTo>
                    <a:pt x="16" y="1264"/>
                  </a:lnTo>
                  <a:lnTo>
                    <a:pt x="6" y="1340"/>
                  </a:lnTo>
                  <a:lnTo>
                    <a:pt x="2" y="1416"/>
                  </a:lnTo>
                  <a:lnTo>
                    <a:pt x="0" y="1492"/>
                  </a:lnTo>
                  <a:lnTo>
                    <a:pt x="0" y="1492"/>
                  </a:lnTo>
                  <a:lnTo>
                    <a:pt x="2" y="1567"/>
                  </a:lnTo>
                  <a:lnTo>
                    <a:pt x="6" y="1643"/>
                  </a:lnTo>
                  <a:lnTo>
                    <a:pt x="16" y="1717"/>
                  </a:lnTo>
                  <a:lnTo>
                    <a:pt x="30" y="1791"/>
                  </a:lnTo>
                  <a:lnTo>
                    <a:pt x="46" y="1863"/>
                  </a:lnTo>
                  <a:lnTo>
                    <a:pt x="66" y="1933"/>
                  </a:lnTo>
                  <a:lnTo>
                    <a:pt x="90" y="2003"/>
                  </a:lnTo>
                  <a:lnTo>
                    <a:pt x="116" y="2071"/>
                  </a:lnTo>
                  <a:lnTo>
                    <a:pt x="146" y="2137"/>
                  </a:lnTo>
                  <a:lnTo>
                    <a:pt x="180" y="2201"/>
                  </a:lnTo>
                  <a:lnTo>
                    <a:pt x="216" y="2263"/>
                  </a:lnTo>
                  <a:lnTo>
                    <a:pt x="254" y="2325"/>
                  </a:lnTo>
                  <a:lnTo>
                    <a:pt x="296" y="2383"/>
                  </a:lnTo>
                  <a:lnTo>
                    <a:pt x="340" y="2439"/>
                  </a:lnTo>
                  <a:lnTo>
                    <a:pt x="388" y="2493"/>
                  </a:lnTo>
                  <a:lnTo>
                    <a:pt x="436" y="2545"/>
                  </a:lnTo>
                  <a:lnTo>
                    <a:pt x="488" y="2595"/>
                  </a:lnTo>
                  <a:lnTo>
                    <a:pt x="542" y="2641"/>
                  </a:lnTo>
                  <a:lnTo>
                    <a:pt x="600" y="2687"/>
                  </a:lnTo>
                  <a:lnTo>
                    <a:pt x="658" y="2727"/>
                  </a:lnTo>
                  <a:lnTo>
                    <a:pt x="718" y="2767"/>
                  </a:lnTo>
                  <a:lnTo>
                    <a:pt x="780" y="2803"/>
                  </a:lnTo>
                  <a:lnTo>
                    <a:pt x="844" y="2835"/>
                  </a:lnTo>
                  <a:lnTo>
                    <a:pt x="910" y="2865"/>
                  </a:lnTo>
                  <a:lnTo>
                    <a:pt x="978" y="2893"/>
                  </a:lnTo>
                  <a:lnTo>
                    <a:pt x="1048" y="2915"/>
                  </a:lnTo>
                  <a:lnTo>
                    <a:pt x="1118" y="2935"/>
                  </a:lnTo>
                  <a:lnTo>
                    <a:pt x="1190" y="2953"/>
                  </a:lnTo>
                  <a:lnTo>
                    <a:pt x="1264" y="2965"/>
                  </a:lnTo>
                  <a:lnTo>
                    <a:pt x="1338" y="2975"/>
                  </a:lnTo>
                  <a:lnTo>
                    <a:pt x="1414" y="2981"/>
                  </a:lnTo>
                  <a:lnTo>
                    <a:pt x="1492" y="2983"/>
                  </a:lnTo>
                  <a:lnTo>
                    <a:pt x="1492" y="2983"/>
                  </a:lnTo>
                  <a:lnTo>
                    <a:pt x="1568" y="2981"/>
                  </a:lnTo>
                  <a:lnTo>
                    <a:pt x="1644" y="2975"/>
                  </a:lnTo>
                  <a:lnTo>
                    <a:pt x="1718" y="2965"/>
                  </a:lnTo>
                  <a:lnTo>
                    <a:pt x="1792" y="2953"/>
                  </a:lnTo>
                  <a:lnTo>
                    <a:pt x="1864" y="2935"/>
                  </a:lnTo>
                  <a:lnTo>
                    <a:pt x="1934" y="2915"/>
                  </a:lnTo>
                  <a:lnTo>
                    <a:pt x="2004" y="2893"/>
                  </a:lnTo>
                  <a:lnTo>
                    <a:pt x="2072" y="2865"/>
                  </a:lnTo>
                  <a:lnTo>
                    <a:pt x="2138" y="2835"/>
                  </a:lnTo>
                  <a:lnTo>
                    <a:pt x="2202" y="2803"/>
                  </a:lnTo>
                  <a:lnTo>
                    <a:pt x="2264" y="2767"/>
                  </a:lnTo>
                  <a:lnTo>
                    <a:pt x="2324" y="2727"/>
                  </a:lnTo>
                  <a:lnTo>
                    <a:pt x="2384" y="2687"/>
                  </a:lnTo>
                  <a:lnTo>
                    <a:pt x="2440" y="2641"/>
                  </a:lnTo>
                  <a:lnTo>
                    <a:pt x="2494" y="2595"/>
                  </a:lnTo>
                  <a:lnTo>
                    <a:pt x="2546" y="2545"/>
                  </a:lnTo>
                  <a:lnTo>
                    <a:pt x="2596" y="2493"/>
                  </a:lnTo>
                  <a:lnTo>
                    <a:pt x="2642" y="2439"/>
                  </a:lnTo>
                  <a:lnTo>
                    <a:pt x="2686" y="2383"/>
                  </a:lnTo>
                  <a:lnTo>
                    <a:pt x="2728" y="2325"/>
                  </a:lnTo>
                  <a:lnTo>
                    <a:pt x="2766" y="2263"/>
                  </a:lnTo>
                  <a:lnTo>
                    <a:pt x="2802" y="2201"/>
                  </a:lnTo>
                  <a:lnTo>
                    <a:pt x="2836" y="2137"/>
                  </a:lnTo>
                  <a:lnTo>
                    <a:pt x="2866" y="2071"/>
                  </a:lnTo>
                  <a:lnTo>
                    <a:pt x="2892" y="2003"/>
                  </a:lnTo>
                  <a:lnTo>
                    <a:pt x="2916" y="1933"/>
                  </a:lnTo>
                  <a:lnTo>
                    <a:pt x="2936" y="1863"/>
                  </a:lnTo>
                  <a:lnTo>
                    <a:pt x="2952" y="1791"/>
                  </a:lnTo>
                  <a:lnTo>
                    <a:pt x="2966" y="1717"/>
                  </a:lnTo>
                  <a:lnTo>
                    <a:pt x="2976" y="1643"/>
                  </a:lnTo>
                  <a:lnTo>
                    <a:pt x="2982" y="1567"/>
                  </a:lnTo>
                  <a:lnTo>
                    <a:pt x="2984" y="1492"/>
                  </a:lnTo>
                  <a:lnTo>
                    <a:pt x="2984" y="1492"/>
                  </a:lnTo>
                  <a:lnTo>
                    <a:pt x="2982" y="1416"/>
                  </a:lnTo>
                  <a:lnTo>
                    <a:pt x="2976" y="1340"/>
                  </a:lnTo>
                  <a:lnTo>
                    <a:pt x="2966" y="1264"/>
                  </a:lnTo>
                  <a:lnTo>
                    <a:pt x="2952" y="1192"/>
                  </a:lnTo>
                  <a:lnTo>
                    <a:pt x="2936" y="1120"/>
                  </a:lnTo>
                  <a:lnTo>
                    <a:pt x="2916" y="1048"/>
                  </a:lnTo>
                  <a:lnTo>
                    <a:pt x="2892" y="980"/>
                  </a:lnTo>
                  <a:lnTo>
                    <a:pt x="2866" y="912"/>
                  </a:lnTo>
                  <a:lnTo>
                    <a:pt x="2836" y="846"/>
                  </a:lnTo>
                  <a:lnTo>
                    <a:pt x="2802" y="782"/>
                  </a:lnTo>
                  <a:lnTo>
                    <a:pt x="2766" y="718"/>
                  </a:lnTo>
                  <a:lnTo>
                    <a:pt x="2728" y="658"/>
                  </a:lnTo>
                  <a:lnTo>
                    <a:pt x="2686" y="600"/>
                  </a:lnTo>
                  <a:lnTo>
                    <a:pt x="2642" y="544"/>
                  </a:lnTo>
                  <a:lnTo>
                    <a:pt x="2596" y="490"/>
                  </a:lnTo>
                  <a:lnTo>
                    <a:pt x="2546" y="438"/>
                  </a:lnTo>
                  <a:lnTo>
                    <a:pt x="2494" y="388"/>
                  </a:lnTo>
                  <a:lnTo>
                    <a:pt x="2440" y="340"/>
                  </a:lnTo>
                  <a:lnTo>
                    <a:pt x="2384" y="296"/>
                  </a:lnTo>
                  <a:lnTo>
                    <a:pt x="2324" y="254"/>
                  </a:lnTo>
                  <a:lnTo>
                    <a:pt x="2264" y="216"/>
                  </a:lnTo>
                  <a:lnTo>
                    <a:pt x="2202" y="180"/>
                  </a:lnTo>
                  <a:lnTo>
                    <a:pt x="2138" y="148"/>
                  </a:lnTo>
                  <a:lnTo>
                    <a:pt x="2072" y="118"/>
                  </a:lnTo>
                  <a:lnTo>
                    <a:pt x="2004" y="90"/>
                  </a:lnTo>
                  <a:lnTo>
                    <a:pt x="1934" y="66"/>
                  </a:lnTo>
                  <a:lnTo>
                    <a:pt x="1864" y="46"/>
                  </a:lnTo>
                  <a:lnTo>
                    <a:pt x="1792" y="30"/>
                  </a:lnTo>
                  <a:lnTo>
                    <a:pt x="1718" y="16"/>
                  </a:lnTo>
                  <a:lnTo>
                    <a:pt x="1644" y="8"/>
                  </a:lnTo>
                  <a:lnTo>
                    <a:pt x="1568" y="2"/>
                  </a:lnTo>
                  <a:lnTo>
                    <a:pt x="1492" y="0"/>
                  </a:lnTo>
                  <a:lnTo>
                    <a:pt x="1492" y="0"/>
                  </a:lnTo>
                  <a:close/>
                  <a:moveTo>
                    <a:pt x="2688" y="1348"/>
                  </a:moveTo>
                  <a:lnTo>
                    <a:pt x="1634" y="1348"/>
                  </a:lnTo>
                  <a:lnTo>
                    <a:pt x="1634" y="294"/>
                  </a:lnTo>
                  <a:lnTo>
                    <a:pt x="1634" y="294"/>
                  </a:lnTo>
                  <a:lnTo>
                    <a:pt x="1686" y="302"/>
                  </a:lnTo>
                  <a:lnTo>
                    <a:pt x="1736" y="312"/>
                  </a:lnTo>
                  <a:lnTo>
                    <a:pt x="1786" y="322"/>
                  </a:lnTo>
                  <a:lnTo>
                    <a:pt x="1834" y="336"/>
                  </a:lnTo>
                  <a:lnTo>
                    <a:pt x="1884" y="352"/>
                  </a:lnTo>
                  <a:lnTo>
                    <a:pt x="1930" y="368"/>
                  </a:lnTo>
                  <a:lnTo>
                    <a:pt x="1976" y="388"/>
                  </a:lnTo>
                  <a:lnTo>
                    <a:pt x="2022" y="410"/>
                  </a:lnTo>
                  <a:lnTo>
                    <a:pt x="2066" y="432"/>
                  </a:lnTo>
                  <a:lnTo>
                    <a:pt x="2110" y="456"/>
                  </a:lnTo>
                  <a:lnTo>
                    <a:pt x="2152" y="484"/>
                  </a:lnTo>
                  <a:lnTo>
                    <a:pt x="2192" y="512"/>
                  </a:lnTo>
                  <a:lnTo>
                    <a:pt x="2232" y="542"/>
                  </a:lnTo>
                  <a:lnTo>
                    <a:pt x="2270" y="572"/>
                  </a:lnTo>
                  <a:lnTo>
                    <a:pt x="2308" y="606"/>
                  </a:lnTo>
                  <a:lnTo>
                    <a:pt x="2344" y="640"/>
                  </a:lnTo>
                  <a:lnTo>
                    <a:pt x="2378" y="676"/>
                  </a:lnTo>
                  <a:lnTo>
                    <a:pt x="2410" y="712"/>
                  </a:lnTo>
                  <a:lnTo>
                    <a:pt x="2442" y="750"/>
                  </a:lnTo>
                  <a:lnTo>
                    <a:pt x="2472" y="790"/>
                  </a:lnTo>
                  <a:lnTo>
                    <a:pt x="2500" y="832"/>
                  </a:lnTo>
                  <a:lnTo>
                    <a:pt x="2526" y="874"/>
                  </a:lnTo>
                  <a:lnTo>
                    <a:pt x="2550" y="916"/>
                  </a:lnTo>
                  <a:lnTo>
                    <a:pt x="2574" y="960"/>
                  </a:lnTo>
                  <a:lnTo>
                    <a:pt x="2594" y="1006"/>
                  </a:lnTo>
                  <a:lnTo>
                    <a:pt x="2614" y="1052"/>
                  </a:lnTo>
                  <a:lnTo>
                    <a:pt x="2632" y="1100"/>
                  </a:lnTo>
                  <a:lnTo>
                    <a:pt x="2648" y="1148"/>
                  </a:lnTo>
                  <a:lnTo>
                    <a:pt x="2660" y="1198"/>
                  </a:lnTo>
                  <a:lnTo>
                    <a:pt x="2672" y="1248"/>
                  </a:lnTo>
                  <a:lnTo>
                    <a:pt x="2682" y="1298"/>
                  </a:lnTo>
                  <a:lnTo>
                    <a:pt x="2688" y="1348"/>
                  </a:lnTo>
                  <a:lnTo>
                    <a:pt x="2688" y="1348"/>
                  </a:lnTo>
                  <a:close/>
                  <a:moveTo>
                    <a:pt x="1348" y="294"/>
                  </a:moveTo>
                  <a:lnTo>
                    <a:pt x="1348" y="1348"/>
                  </a:lnTo>
                  <a:lnTo>
                    <a:pt x="294" y="1348"/>
                  </a:lnTo>
                  <a:lnTo>
                    <a:pt x="294" y="1348"/>
                  </a:lnTo>
                  <a:lnTo>
                    <a:pt x="302" y="1298"/>
                  </a:lnTo>
                  <a:lnTo>
                    <a:pt x="310" y="1248"/>
                  </a:lnTo>
                  <a:lnTo>
                    <a:pt x="322" y="1198"/>
                  </a:lnTo>
                  <a:lnTo>
                    <a:pt x="336" y="1148"/>
                  </a:lnTo>
                  <a:lnTo>
                    <a:pt x="350" y="1100"/>
                  </a:lnTo>
                  <a:lnTo>
                    <a:pt x="368" y="1052"/>
                  </a:lnTo>
                  <a:lnTo>
                    <a:pt x="388" y="1006"/>
                  </a:lnTo>
                  <a:lnTo>
                    <a:pt x="408" y="960"/>
                  </a:lnTo>
                  <a:lnTo>
                    <a:pt x="432" y="916"/>
                  </a:lnTo>
                  <a:lnTo>
                    <a:pt x="456" y="874"/>
                  </a:lnTo>
                  <a:lnTo>
                    <a:pt x="482" y="832"/>
                  </a:lnTo>
                  <a:lnTo>
                    <a:pt x="510" y="790"/>
                  </a:lnTo>
                  <a:lnTo>
                    <a:pt x="540" y="750"/>
                  </a:lnTo>
                  <a:lnTo>
                    <a:pt x="572" y="712"/>
                  </a:lnTo>
                  <a:lnTo>
                    <a:pt x="604" y="676"/>
                  </a:lnTo>
                  <a:lnTo>
                    <a:pt x="638" y="640"/>
                  </a:lnTo>
                  <a:lnTo>
                    <a:pt x="674" y="606"/>
                  </a:lnTo>
                  <a:lnTo>
                    <a:pt x="712" y="572"/>
                  </a:lnTo>
                  <a:lnTo>
                    <a:pt x="750" y="542"/>
                  </a:lnTo>
                  <a:lnTo>
                    <a:pt x="790" y="512"/>
                  </a:lnTo>
                  <a:lnTo>
                    <a:pt x="830" y="484"/>
                  </a:lnTo>
                  <a:lnTo>
                    <a:pt x="872" y="456"/>
                  </a:lnTo>
                  <a:lnTo>
                    <a:pt x="916" y="432"/>
                  </a:lnTo>
                  <a:lnTo>
                    <a:pt x="960" y="410"/>
                  </a:lnTo>
                  <a:lnTo>
                    <a:pt x="1006" y="388"/>
                  </a:lnTo>
                  <a:lnTo>
                    <a:pt x="1052" y="368"/>
                  </a:lnTo>
                  <a:lnTo>
                    <a:pt x="1100" y="352"/>
                  </a:lnTo>
                  <a:lnTo>
                    <a:pt x="1148" y="336"/>
                  </a:lnTo>
                  <a:lnTo>
                    <a:pt x="1196" y="322"/>
                  </a:lnTo>
                  <a:lnTo>
                    <a:pt x="1246" y="312"/>
                  </a:lnTo>
                  <a:lnTo>
                    <a:pt x="1298" y="302"/>
                  </a:lnTo>
                  <a:lnTo>
                    <a:pt x="1348" y="294"/>
                  </a:lnTo>
                  <a:lnTo>
                    <a:pt x="1348" y="294"/>
                  </a:lnTo>
                  <a:close/>
                  <a:moveTo>
                    <a:pt x="294" y="1633"/>
                  </a:moveTo>
                  <a:lnTo>
                    <a:pt x="1348" y="1633"/>
                  </a:lnTo>
                  <a:lnTo>
                    <a:pt x="1348" y="2689"/>
                  </a:lnTo>
                  <a:lnTo>
                    <a:pt x="1348" y="2689"/>
                  </a:lnTo>
                  <a:lnTo>
                    <a:pt x="1298" y="2681"/>
                  </a:lnTo>
                  <a:lnTo>
                    <a:pt x="1246" y="2671"/>
                  </a:lnTo>
                  <a:lnTo>
                    <a:pt x="1196" y="2661"/>
                  </a:lnTo>
                  <a:lnTo>
                    <a:pt x="1148" y="2647"/>
                  </a:lnTo>
                  <a:lnTo>
                    <a:pt x="1100" y="2631"/>
                  </a:lnTo>
                  <a:lnTo>
                    <a:pt x="1052" y="2613"/>
                  </a:lnTo>
                  <a:lnTo>
                    <a:pt x="1006" y="2595"/>
                  </a:lnTo>
                  <a:lnTo>
                    <a:pt x="960" y="2573"/>
                  </a:lnTo>
                  <a:lnTo>
                    <a:pt x="916" y="2551"/>
                  </a:lnTo>
                  <a:lnTo>
                    <a:pt x="872" y="2525"/>
                  </a:lnTo>
                  <a:lnTo>
                    <a:pt x="830" y="2499"/>
                  </a:lnTo>
                  <a:lnTo>
                    <a:pt x="790" y="2471"/>
                  </a:lnTo>
                  <a:lnTo>
                    <a:pt x="750" y="2441"/>
                  </a:lnTo>
                  <a:lnTo>
                    <a:pt x="712" y="2411"/>
                  </a:lnTo>
                  <a:lnTo>
                    <a:pt x="674" y="2377"/>
                  </a:lnTo>
                  <a:lnTo>
                    <a:pt x="638" y="2343"/>
                  </a:lnTo>
                  <a:lnTo>
                    <a:pt x="604" y="2307"/>
                  </a:lnTo>
                  <a:lnTo>
                    <a:pt x="572" y="2271"/>
                  </a:lnTo>
                  <a:lnTo>
                    <a:pt x="540" y="2231"/>
                  </a:lnTo>
                  <a:lnTo>
                    <a:pt x="510" y="2193"/>
                  </a:lnTo>
                  <a:lnTo>
                    <a:pt x="482" y="2151"/>
                  </a:lnTo>
                  <a:lnTo>
                    <a:pt x="456" y="2109"/>
                  </a:lnTo>
                  <a:lnTo>
                    <a:pt x="432" y="2065"/>
                  </a:lnTo>
                  <a:lnTo>
                    <a:pt x="408" y="2021"/>
                  </a:lnTo>
                  <a:lnTo>
                    <a:pt x="388" y="1977"/>
                  </a:lnTo>
                  <a:lnTo>
                    <a:pt x="368" y="1929"/>
                  </a:lnTo>
                  <a:lnTo>
                    <a:pt x="350" y="1883"/>
                  </a:lnTo>
                  <a:lnTo>
                    <a:pt x="336" y="1835"/>
                  </a:lnTo>
                  <a:lnTo>
                    <a:pt x="322" y="1785"/>
                  </a:lnTo>
                  <a:lnTo>
                    <a:pt x="310" y="1735"/>
                  </a:lnTo>
                  <a:lnTo>
                    <a:pt x="302" y="1685"/>
                  </a:lnTo>
                  <a:lnTo>
                    <a:pt x="294" y="1633"/>
                  </a:lnTo>
                  <a:lnTo>
                    <a:pt x="294" y="1633"/>
                  </a:lnTo>
                  <a:close/>
                  <a:moveTo>
                    <a:pt x="1634" y="2689"/>
                  </a:moveTo>
                  <a:lnTo>
                    <a:pt x="1634" y="1633"/>
                  </a:lnTo>
                  <a:lnTo>
                    <a:pt x="2688" y="1633"/>
                  </a:lnTo>
                  <a:lnTo>
                    <a:pt x="2688" y="1633"/>
                  </a:lnTo>
                  <a:lnTo>
                    <a:pt x="2682" y="1685"/>
                  </a:lnTo>
                  <a:lnTo>
                    <a:pt x="2672" y="1735"/>
                  </a:lnTo>
                  <a:lnTo>
                    <a:pt x="2660" y="1785"/>
                  </a:lnTo>
                  <a:lnTo>
                    <a:pt x="2648" y="1835"/>
                  </a:lnTo>
                  <a:lnTo>
                    <a:pt x="2632" y="1883"/>
                  </a:lnTo>
                  <a:lnTo>
                    <a:pt x="2614" y="1929"/>
                  </a:lnTo>
                  <a:lnTo>
                    <a:pt x="2594" y="1977"/>
                  </a:lnTo>
                  <a:lnTo>
                    <a:pt x="2574" y="2021"/>
                  </a:lnTo>
                  <a:lnTo>
                    <a:pt x="2550" y="2065"/>
                  </a:lnTo>
                  <a:lnTo>
                    <a:pt x="2526" y="2109"/>
                  </a:lnTo>
                  <a:lnTo>
                    <a:pt x="2500" y="2151"/>
                  </a:lnTo>
                  <a:lnTo>
                    <a:pt x="2472" y="2193"/>
                  </a:lnTo>
                  <a:lnTo>
                    <a:pt x="2442" y="2231"/>
                  </a:lnTo>
                  <a:lnTo>
                    <a:pt x="2410" y="2271"/>
                  </a:lnTo>
                  <a:lnTo>
                    <a:pt x="2378" y="2307"/>
                  </a:lnTo>
                  <a:lnTo>
                    <a:pt x="2344" y="2343"/>
                  </a:lnTo>
                  <a:lnTo>
                    <a:pt x="2308" y="2377"/>
                  </a:lnTo>
                  <a:lnTo>
                    <a:pt x="2270" y="2411"/>
                  </a:lnTo>
                  <a:lnTo>
                    <a:pt x="2232" y="2441"/>
                  </a:lnTo>
                  <a:lnTo>
                    <a:pt x="2192" y="2471"/>
                  </a:lnTo>
                  <a:lnTo>
                    <a:pt x="2152" y="2499"/>
                  </a:lnTo>
                  <a:lnTo>
                    <a:pt x="2110" y="2525"/>
                  </a:lnTo>
                  <a:lnTo>
                    <a:pt x="2066" y="2551"/>
                  </a:lnTo>
                  <a:lnTo>
                    <a:pt x="2022" y="2573"/>
                  </a:lnTo>
                  <a:lnTo>
                    <a:pt x="1976" y="2595"/>
                  </a:lnTo>
                  <a:lnTo>
                    <a:pt x="1930" y="2613"/>
                  </a:lnTo>
                  <a:lnTo>
                    <a:pt x="1884" y="2631"/>
                  </a:lnTo>
                  <a:lnTo>
                    <a:pt x="1834" y="2647"/>
                  </a:lnTo>
                  <a:lnTo>
                    <a:pt x="1786" y="2661"/>
                  </a:lnTo>
                  <a:lnTo>
                    <a:pt x="1736" y="2671"/>
                  </a:lnTo>
                  <a:lnTo>
                    <a:pt x="1686" y="2681"/>
                  </a:lnTo>
                  <a:lnTo>
                    <a:pt x="1634" y="2689"/>
                  </a:lnTo>
                  <a:lnTo>
                    <a:pt x="1634" y="26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19" name="Google Shape;5206;p388">
            <a:extLst>
              <a:ext uri="{FF2B5EF4-FFF2-40B4-BE49-F238E27FC236}">
                <a16:creationId xmlns:a16="http://schemas.microsoft.com/office/drawing/2014/main" id="{63941C64-80D0-43CB-BC9D-7AAF042E5C42}"/>
              </a:ext>
            </a:extLst>
          </p:cNvPr>
          <p:cNvSpPr/>
          <p:nvPr/>
        </p:nvSpPr>
        <p:spPr>
          <a:xfrm>
            <a:off x="222722" y="1406135"/>
            <a:ext cx="11746555" cy="1516678"/>
          </a:xfrm>
          <a:prstGeom prst="roundRect">
            <a:avLst>
              <a:gd name="adj" fmla="val 7995"/>
            </a:avLst>
          </a:prstGeom>
          <a:noFill/>
          <a:ln w="9525" cap="flat" cmpd="sng">
            <a:solidFill>
              <a:srgbClr val="DEDED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4367" tIns="24367" rIns="24367" bIns="24367" anchor="t" anchorCtr="0">
            <a:noAutofit/>
          </a:bodyPr>
          <a:lstStyle/>
          <a:p>
            <a:pPr>
              <a:spcAft>
                <a:spcPts val="133"/>
              </a:spcAft>
              <a:buSzPts val="1100"/>
            </a:pPr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20" name="Google Shape;5352;p388">
            <a:extLst>
              <a:ext uri="{FF2B5EF4-FFF2-40B4-BE49-F238E27FC236}">
                <a16:creationId xmlns:a16="http://schemas.microsoft.com/office/drawing/2014/main" id="{DD5FA0F5-ED40-4AAD-B556-CF78F3C6202C}"/>
              </a:ext>
            </a:extLst>
          </p:cNvPr>
          <p:cNvSpPr/>
          <p:nvPr/>
        </p:nvSpPr>
        <p:spPr>
          <a:xfrm>
            <a:off x="1031766" y="1589152"/>
            <a:ext cx="2928800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Multistage and scalable roadmap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29" name="Google Shape;5369;p388">
            <a:extLst>
              <a:ext uri="{FF2B5EF4-FFF2-40B4-BE49-F238E27FC236}">
                <a16:creationId xmlns:a16="http://schemas.microsoft.com/office/drawing/2014/main" id="{C91DB402-4DBE-4ECC-8848-8354D75470B5}"/>
              </a:ext>
            </a:extLst>
          </p:cNvPr>
          <p:cNvSpPr/>
          <p:nvPr/>
        </p:nvSpPr>
        <p:spPr>
          <a:xfrm>
            <a:off x="1031766" y="2372717"/>
            <a:ext cx="2928800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Fosters transparency and accountability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0" name="Google Shape;5370;p388">
            <a:extLst>
              <a:ext uri="{FF2B5EF4-FFF2-40B4-BE49-F238E27FC236}">
                <a16:creationId xmlns:a16="http://schemas.microsoft.com/office/drawing/2014/main" id="{F3ED0486-CD37-431F-903F-EB20AAC85F69}"/>
              </a:ext>
            </a:extLst>
          </p:cNvPr>
          <p:cNvSpPr/>
          <p:nvPr/>
        </p:nvSpPr>
        <p:spPr>
          <a:xfrm>
            <a:off x="4951089" y="1578319"/>
            <a:ext cx="2926000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Curated for each firm and aligned to vision and mission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1" name="Google Shape;5371;p388">
            <a:extLst>
              <a:ext uri="{FF2B5EF4-FFF2-40B4-BE49-F238E27FC236}">
                <a16:creationId xmlns:a16="http://schemas.microsoft.com/office/drawing/2014/main" id="{FC7F1CC7-78EC-4A83-B2E8-E125FFCF24F4}"/>
              </a:ext>
            </a:extLst>
          </p:cNvPr>
          <p:cNvSpPr/>
          <p:nvPr/>
        </p:nvSpPr>
        <p:spPr>
          <a:xfrm>
            <a:off x="4976345" y="2352472"/>
            <a:ext cx="2926000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Sustainable over long </a:t>
            </a:r>
          </a:p>
          <a:p>
            <a:pPr>
              <a:buClr>
                <a:schemeClr val="dk1"/>
              </a:buClr>
              <a:buSzPts val="1100"/>
            </a:pPr>
            <a:r>
              <a:rPr lang="en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term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2" name="Google Shape;5372;p388">
            <a:extLst>
              <a:ext uri="{FF2B5EF4-FFF2-40B4-BE49-F238E27FC236}">
                <a16:creationId xmlns:a16="http://schemas.microsoft.com/office/drawing/2014/main" id="{35C46743-730D-4ED9-9862-06F6A241D7B8}"/>
              </a:ext>
            </a:extLst>
          </p:cNvPr>
          <p:cNvSpPr/>
          <p:nvPr/>
        </p:nvSpPr>
        <p:spPr>
          <a:xfrm>
            <a:off x="424718" y="2263355"/>
            <a:ext cx="500000" cy="500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3" name="Google Shape;5373;p388">
            <a:extLst>
              <a:ext uri="{FF2B5EF4-FFF2-40B4-BE49-F238E27FC236}">
                <a16:creationId xmlns:a16="http://schemas.microsoft.com/office/drawing/2014/main" id="{4B0FA51B-6794-4FF9-A28F-CEF5F4602891}"/>
              </a:ext>
            </a:extLst>
          </p:cNvPr>
          <p:cNvSpPr/>
          <p:nvPr/>
        </p:nvSpPr>
        <p:spPr>
          <a:xfrm>
            <a:off x="4345075" y="1486252"/>
            <a:ext cx="500000" cy="500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4" name="Google Shape;5374;p388">
            <a:extLst>
              <a:ext uri="{FF2B5EF4-FFF2-40B4-BE49-F238E27FC236}">
                <a16:creationId xmlns:a16="http://schemas.microsoft.com/office/drawing/2014/main" id="{590C2D3A-92F4-4786-B391-C18574801A9E}"/>
              </a:ext>
            </a:extLst>
          </p:cNvPr>
          <p:cNvSpPr/>
          <p:nvPr/>
        </p:nvSpPr>
        <p:spPr>
          <a:xfrm>
            <a:off x="4389675" y="2263355"/>
            <a:ext cx="500000" cy="500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6" name="Google Shape;5376;p388">
            <a:extLst>
              <a:ext uri="{FF2B5EF4-FFF2-40B4-BE49-F238E27FC236}">
                <a16:creationId xmlns:a16="http://schemas.microsoft.com/office/drawing/2014/main" id="{7ECFA03D-91D8-4D5A-B954-EEEF299DC8F1}"/>
              </a:ext>
            </a:extLst>
          </p:cNvPr>
          <p:cNvSpPr/>
          <p:nvPr/>
        </p:nvSpPr>
        <p:spPr>
          <a:xfrm>
            <a:off x="424718" y="1483652"/>
            <a:ext cx="505200" cy="5052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7" name="Google Shape;5377;p388">
            <a:extLst>
              <a:ext uri="{FF2B5EF4-FFF2-40B4-BE49-F238E27FC236}">
                <a16:creationId xmlns:a16="http://schemas.microsoft.com/office/drawing/2014/main" id="{B7262A6B-4986-4C86-838E-7FBA6B0AFF7A}"/>
              </a:ext>
            </a:extLst>
          </p:cNvPr>
          <p:cNvSpPr/>
          <p:nvPr/>
        </p:nvSpPr>
        <p:spPr>
          <a:xfrm>
            <a:off x="488731" y="1547127"/>
            <a:ext cx="377175" cy="37825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98" y="317"/>
                </a:moveTo>
                <a:cubicBezTo>
                  <a:pt x="172" y="323"/>
                  <a:pt x="155" y="349"/>
                  <a:pt x="161" y="375"/>
                </a:cubicBezTo>
                <a:cubicBezTo>
                  <a:pt x="164" y="387"/>
                  <a:pt x="171" y="398"/>
                  <a:pt x="182" y="405"/>
                </a:cubicBezTo>
                <a:cubicBezTo>
                  <a:pt x="190" y="410"/>
                  <a:pt x="199" y="412"/>
                  <a:pt x="208" y="412"/>
                </a:cubicBezTo>
                <a:cubicBezTo>
                  <a:pt x="212" y="412"/>
                  <a:pt x="215" y="412"/>
                  <a:pt x="218" y="411"/>
                </a:cubicBezTo>
                <a:cubicBezTo>
                  <a:pt x="244" y="406"/>
                  <a:pt x="261" y="380"/>
                  <a:pt x="255" y="354"/>
                </a:cubicBezTo>
                <a:cubicBezTo>
                  <a:pt x="249" y="328"/>
                  <a:pt x="224" y="312"/>
                  <a:pt x="198" y="317"/>
                </a:cubicBezTo>
                <a:close/>
                <a:moveTo>
                  <a:pt x="228" y="377"/>
                </a:moveTo>
                <a:cubicBezTo>
                  <a:pt x="225" y="383"/>
                  <a:pt x="219" y="386"/>
                  <a:pt x="213" y="388"/>
                </a:cubicBezTo>
                <a:cubicBezTo>
                  <a:pt x="207" y="389"/>
                  <a:pt x="201" y="388"/>
                  <a:pt x="195" y="384"/>
                </a:cubicBezTo>
                <a:cubicBezTo>
                  <a:pt x="190" y="381"/>
                  <a:pt x="186" y="376"/>
                  <a:pt x="185" y="369"/>
                </a:cubicBezTo>
                <a:cubicBezTo>
                  <a:pt x="182" y="357"/>
                  <a:pt x="190" y="344"/>
                  <a:pt x="203" y="341"/>
                </a:cubicBezTo>
                <a:cubicBezTo>
                  <a:pt x="209" y="340"/>
                  <a:pt x="216" y="341"/>
                  <a:pt x="221" y="344"/>
                </a:cubicBezTo>
                <a:cubicBezTo>
                  <a:pt x="226" y="348"/>
                  <a:pt x="230" y="353"/>
                  <a:pt x="231" y="359"/>
                </a:cubicBezTo>
                <a:cubicBezTo>
                  <a:pt x="233" y="365"/>
                  <a:pt x="232" y="372"/>
                  <a:pt x="228" y="377"/>
                </a:cubicBezTo>
                <a:close/>
                <a:moveTo>
                  <a:pt x="360" y="370"/>
                </a:moveTo>
                <a:cubicBezTo>
                  <a:pt x="344" y="295"/>
                  <a:pt x="344" y="295"/>
                  <a:pt x="344" y="295"/>
                </a:cubicBezTo>
                <a:cubicBezTo>
                  <a:pt x="306" y="294"/>
                  <a:pt x="306" y="294"/>
                  <a:pt x="306" y="294"/>
                </a:cubicBezTo>
                <a:cubicBezTo>
                  <a:pt x="300" y="287"/>
                  <a:pt x="294" y="280"/>
                  <a:pt x="287" y="274"/>
                </a:cubicBezTo>
                <a:cubicBezTo>
                  <a:pt x="289" y="236"/>
                  <a:pt x="289" y="236"/>
                  <a:pt x="289" y="236"/>
                </a:cubicBezTo>
                <a:cubicBezTo>
                  <a:pt x="216" y="212"/>
                  <a:pt x="216" y="212"/>
                  <a:pt x="216" y="212"/>
                </a:cubicBezTo>
                <a:cubicBezTo>
                  <a:pt x="196" y="245"/>
                  <a:pt x="196" y="245"/>
                  <a:pt x="196" y="245"/>
                </a:cubicBezTo>
                <a:cubicBezTo>
                  <a:pt x="191" y="245"/>
                  <a:pt x="187" y="246"/>
                  <a:pt x="182" y="247"/>
                </a:cubicBezTo>
                <a:cubicBezTo>
                  <a:pt x="178" y="248"/>
                  <a:pt x="174" y="249"/>
                  <a:pt x="169" y="251"/>
                </a:cubicBezTo>
                <a:cubicBezTo>
                  <a:pt x="137" y="230"/>
                  <a:pt x="137" y="230"/>
                  <a:pt x="137" y="230"/>
                </a:cubicBezTo>
                <a:cubicBezTo>
                  <a:pt x="81" y="282"/>
                  <a:pt x="81" y="282"/>
                  <a:pt x="81" y="282"/>
                </a:cubicBezTo>
                <a:cubicBezTo>
                  <a:pt x="99" y="315"/>
                  <a:pt x="99" y="315"/>
                  <a:pt x="99" y="315"/>
                </a:cubicBezTo>
                <a:cubicBezTo>
                  <a:pt x="95" y="324"/>
                  <a:pt x="92" y="333"/>
                  <a:pt x="90" y="341"/>
                </a:cubicBezTo>
                <a:cubicBezTo>
                  <a:pt x="56" y="358"/>
                  <a:pt x="56" y="358"/>
                  <a:pt x="56" y="358"/>
                </a:cubicBezTo>
                <a:cubicBezTo>
                  <a:pt x="73" y="433"/>
                  <a:pt x="73" y="433"/>
                  <a:pt x="73" y="433"/>
                </a:cubicBezTo>
                <a:cubicBezTo>
                  <a:pt x="111" y="434"/>
                  <a:pt x="111" y="434"/>
                  <a:pt x="111" y="434"/>
                </a:cubicBezTo>
                <a:cubicBezTo>
                  <a:pt x="116" y="442"/>
                  <a:pt x="122" y="449"/>
                  <a:pt x="129" y="455"/>
                </a:cubicBezTo>
                <a:cubicBezTo>
                  <a:pt x="127" y="493"/>
                  <a:pt x="127" y="493"/>
                  <a:pt x="127" y="493"/>
                </a:cubicBezTo>
                <a:cubicBezTo>
                  <a:pt x="200" y="516"/>
                  <a:pt x="200" y="516"/>
                  <a:pt x="200" y="516"/>
                </a:cubicBezTo>
                <a:cubicBezTo>
                  <a:pt x="220" y="484"/>
                  <a:pt x="220" y="484"/>
                  <a:pt x="220" y="484"/>
                </a:cubicBezTo>
                <a:cubicBezTo>
                  <a:pt x="225" y="483"/>
                  <a:pt x="230" y="482"/>
                  <a:pt x="234" y="482"/>
                </a:cubicBezTo>
                <a:cubicBezTo>
                  <a:pt x="238" y="481"/>
                  <a:pt x="242" y="479"/>
                  <a:pt x="247" y="478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336" y="447"/>
                  <a:pt x="336" y="447"/>
                  <a:pt x="336" y="447"/>
                </a:cubicBezTo>
                <a:cubicBezTo>
                  <a:pt x="318" y="413"/>
                  <a:pt x="318" y="413"/>
                  <a:pt x="318" y="413"/>
                </a:cubicBezTo>
                <a:cubicBezTo>
                  <a:pt x="321" y="405"/>
                  <a:pt x="324" y="396"/>
                  <a:pt x="326" y="387"/>
                </a:cubicBezTo>
                <a:lnTo>
                  <a:pt x="360" y="370"/>
                </a:lnTo>
                <a:close/>
                <a:moveTo>
                  <a:pt x="304" y="371"/>
                </a:moveTo>
                <a:cubicBezTo>
                  <a:pt x="302" y="381"/>
                  <a:pt x="302" y="381"/>
                  <a:pt x="302" y="381"/>
                </a:cubicBezTo>
                <a:cubicBezTo>
                  <a:pt x="301" y="389"/>
                  <a:pt x="299" y="397"/>
                  <a:pt x="295" y="405"/>
                </a:cubicBezTo>
                <a:cubicBezTo>
                  <a:pt x="290" y="414"/>
                  <a:pt x="290" y="414"/>
                  <a:pt x="290" y="414"/>
                </a:cubicBezTo>
                <a:cubicBezTo>
                  <a:pt x="305" y="442"/>
                  <a:pt x="305" y="442"/>
                  <a:pt x="305" y="442"/>
                </a:cubicBezTo>
                <a:cubicBezTo>
                  <a:pt x="277" y="468"/>
                  <a:pt x="277" y="468"/>
                  <a:pt x="277" y="468"/>
                </a:cubicBezTo>
                <a:cubicBezTo>
                  <a:pt x="250" y="451"/>
                  <a:pt x="250" y="451"/>
                  <a:pt x="250" y="451"/>
                </a:cubicBezTo>
                <a:cubicBezTo>
                  <a:pt x="240" y="454"/>
                  <a:pt x="240" y="454"/>
                  <a:pt x="240" y="454"/>
                </a:cubicBezTo>
                <a:cubicBezTo>
                  <a:pt x="236" y="456"/>
                  <a:pt x="232" y="457"/>
                  <a:pt x="229" y="458"/>
                </a:cubicBezTo>
                <a:cubicBezTo>
                  <a:pt x="225" y="459"/>
                  <a:pt x="221" y="459"/>
                  <a:pt x="217" y="460"/>
                </a:cubicBezTo>
                <a:cubicBezTo>
                  <a:pt x="206" y="461"/>
                  <a:pt x="206" y="461"/>
                  <a:pt x="206" y="461"/>
                </a:cubicBezTo>
                <a:cubicBezTo>
                  <a:pt x="190" y="487"/>
                  <a:pt x="190" y="487"/>
                  <a:pt x="190" y="487"/>
                </a:cubicBezTo>
                <a:cubicBezTo>
                  <a:pt x="152" y="476"/>
                  <a:pt x="152" y="476"/>
                  <a:pt x="152" y="476"/>
                </a:cubicBezTo>
                <a:cubicBezTo>
                  <a:pt x="154" y="444"/>
                  <a:pt x="154" y="444"/>
                  <a:pt x="154" y="444"/>
                </a:cubicBezTo>
                <a:cubicBezTo>
                  <a:pt x="146" y="437"/>
                  <a:pt x="146" y="437"/>
                  <a:pt x="146" y="437"/>
                </a:cubicBezTo>
                <a:cubicBezTo>
                  <a:pt x="140" y="432"/>
                  <a:pt x="134" y="426"/>
                  <a:pt x="130" y="419"/>
                </a:cubicBezTo>
                <a:cubicBezTo>
                  <a:pt x="124" y="411"/>
                  <a:pt x="124" y="411"/>
                  <a:pt x="124" y="411"/>
                </a:cubicBezTo>
                <a:cubicBezTo>
                  <a:pt x="92" y="410"/>
                  <a:pt x="92" y="410"/>
                  <a:pt x="92" y="410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112" y="358"/>
                  <a:pt x="112" y="358"/>
                  <a:pt x="112" y="358"/>
                </a:cubicBezTo>
                <a:cubicBezTo>
                  <a:pt x="114" y="347"/>
                  <a:pt x="114" y="347"/>
                  <a:pt x="114" y="347"/>
                </a:cubicBezTo>
                <a:cubicBezTo>
                  <a:pt x="115" y="339"/>
                  <a:pt x="118" y="332"/>
                  <a:pt x="121" y="324"/>
                </a:cubicBezTo>
                <a:cubicBezTo>
                  <a:pt x="126" y="314"/>
                  <a:pt x="126" y="314"/>
                  <a:pt x="126" y="314"/>
                </a:cubicBezTo>
                <a:cubicBezTo>
                  <a:pt x="111" y="287"/>
                  <a:pt x="111" y="287"/>
                  <a:pt x="111" y="287"/>
                </a:cubicBezTo>
                <a:cubicBezTo>
                  <a:pt x="140" y="260"/>
                  <a:pt x="140" y="260"/>
                  <a:pt x="140" y="260"/>
                </a:cubicBezTo>
                <a:cubicBezTo>
                  <a:pt x="166" y="278"/>
                  <a:pt x="166" y="278"/>
                  <a:pt x="166" y="278"/>
                </a:cubicBezTo>
                <a:cubicBezTo>
                  <a:pt x="176" y="274"/>
                  <a:pt x="176" y="274"/>
                  <a:pt x="176" y="274"/>
                </a:cubicBezTo>
                <a:cubicBezTo>
                  <a:pt x="180" y="273"/>
                  <a:pt x="184" y="271"/>
                  <a:pt x="188" y="271"/>
                </a:cubicBezTo>
                <a:cubicBezTo>
                  <a:pt x="191" y="270"/>
                  <a:pt x="195" y="269"/>
                  <a:pt x="200" y="269"/>
                </a:cubicBezTo>
                <a:cubicBezTo>
                  <a:pt x="210" y="268"/>
                  <a:pt x="210" y="268"/>
                  <a:pt x="210" y="268"/>
                </a:cubicBezTo>
                <a:cubicBezTo>
                  <a:pt x="227" y="241"/>
                  <a:pt x="227" y="241"/>
                  <a:pt x="227" y="241"/>
                </a:cubicBezTo>
                <a:cubicBezTo>
                  <a:pt x="264" y="253"/>
                  <a:pt x="264" y="253"/>
                  <a:pt x="264" y="253"/>
                </a:cubicBezTo>
                <a:cubicBezTo>
                  <a:pt x="262" y="284"/>
                  <a:pt x="262" y="284"/>
                  <a:pt x="262" y="284"/>
                </a:cubicBezTo>
                <a:cubicBezTo>
                  <a:pt x="270" y="291"/>
                  <a:pt x="270" y="291"/>
                  <a:pt x="270" y="291"/>
                </a:cubicBezTo>
                <a:cubicBezTo>
                  <a:pt x="277" y="297"/>
                  <a:pt x="282" y="303"/>
                  <a:pt x="287" y="309"/>
                </a:cubicBezTo>
                <a:cubicBezTo>
                  <a:pt x="293" y="318"/>
                  <a:pt x="293" y="318"/>
                  <a:pt x="293" y="318"/>
                </a:cubicBezTo>
                <a:cubicBezTo>
                  <a:pt x="324" y="319"/>
                  <a:pt x="324" y="319"/>
                  <a:pt x="324" y="319"/>
                </a:cubicBezTo>
                <a:cubicBezTo>
                  <a:pt x="332" y="357"/>
                  <a:pt x="332" y="357"/>
                  <a:pt x="332" y="357"/>
                </a:cubicBezTo>
                <a:lnTo>
                  <a:pt x="304" y="371"/>
                </a:lnTo>
                <a:close/>
                <a:moveTo>
                  <a:pt x="497" y="170"/>
                </a:moveTo>
                <a:cubicBezTo>
                  <a:pt x="497" y="167"/>
                  <a:pt x="496" y="164"/>
                  <a:pt x="496" y="161"/>
                </a:cubicBezTo>
                <a:cubicBezTo>
                  <a:pt x="495" y="159"/>
                  <a:pt x="494" y="156"/>
                  <a:pt x="493" y="153"/>
                </a:cubicBezTo>
                <a:cubicBezTo>
                  <a:pt x="509" y="130"/>
                  <a:pt x="509" y="130"/>
                  <a:pt x="509" y="130"/>
                </a:cubicBezTo>
                <a:cubicBezTo>
                  <a:pt x="468" y="85"/>
                  <a:pt x="468" y="85"/>
                  <a:pt x="468" y="85"/>
                </a:cubicBezTo>
                <a:cubicBezTo>
                  <a:pt x="444" y="99"/>
                  <a:pt x="444" y="99"/>
                  <a:pt x="444" y="99"/>
                </a:cubicBezTo>
                <a:cubicBezTo>
                  <a:pt x="438" y="97"/>
                  <a:pt x="433" y="95"/>
                  <a:pt x="428" y="94"/>
                </a:cubicBezTo>
                <a:cubicBezTo>
                  <a:pt x="416" y="69"/>
                  <a:pt x="416" y="69"/>
                  <a:pt x="416" y="69"/>
                </a:cubicBezTo>
                <a:cubicBezTo>
                  <a:pt x="356" y="82"/>
                  <a:pt x="356" y="82"/>
                  <a:pt x="356" y="82"/>
                </a:cubicBezTo>
                <a:cubicBezTo>
                  <a:pt x="356" y="110"/>
                  <a:pt x="356" y="110"/>
                  <a:pt x="356" y="110"/>
                </a:cubicBezTo>
                <a:cubicBezTo>
                  <a:pt x="351" y="113"/>
                  <a:pt x="347" y="117"/>
                  <a:pt x="343" y="121"/>
                </a:cubicBezTo>
                <a:cubicBezTo>
                  <a:pt x="315" y="119"/>
                  <a:pt x="315" y="119"/>
                  <a:pt x="315" y="119"/>
                </a:cubicBezTo>
                <a:cubicBezTo>
                  <a:pt x="297" y="177"/>
                  <a:pt x="297" y="177"/>
                  <a:pt x="297" y="177"/>
                </a:cubicBezTo>
                <a:cubicBezTo>
                  <a:pt x="321" y="191"/>
                  <a:pt x="321" y="191"/>
                  <a:pt x="321" y="191"/>
                </a:cubicBezTo>
                <a:cubicBezTo>
                  <a:pt x="321" y="194"/>
                  <a:pt x="322" y="197"/>
                  <a:pt x="322" y="199"/>
                </a:cubicBezTo>
                <a:cubicBezTo>
                  <a:pt x="323" y="202"/>
                  <a:pt x="324" y="205"/>
                  <a:pt x="325" y="208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50" y="275"/>
                  <a:pt x="350" y="275"/>
                  <a:pt x="350" y="275"/>
                </a:cubicBezTo>
                <a:cubicBezTo>
                  <a:pt x="374" y="262"/>
                  <a:pt x="374" y="262"/>
                  <a:pt x="374" y="262"/>
                </a:cubicBezTo>
                <a:cubicBezTo>
                  <a:pt x="380" y="264"/>
                  <a:pt x="385" y="266"/>
                  <a:pt x="390" y="267"/>
                </a:cubicBezTo>
                <a:cubicBezTo>
                  <a:pt x="403" y="292"/>
                  <a:pt x="403" y="292"/>
                  <a:pt x="403" y="292"/>
                </a:cubicBezTo>
                <a:cubicBezTo>
                  <a:pt x="462" y="279"/>
                  <a:pt x="462" y="279"/>
                  <a:pt x="462" y="279"/>
                </a:cubicBezTo>
                <a:cubicBezTo>
                  <a:pt x="462" y="251"/>
                  <a:pt x="462" y="251"/>
                  <a:pt x="462" y="251"/>
                </a:cubicBezTo>
                <a:cubicBezTo>
                  <a:pt x="467" y="248"/>
                  <a:pt x="471" y="244"/>
                  <a:pt x="475" y="240"/>
                </a:cubicBezTo>
                <a:cubicBezTo>
                  <a:pt x="503" y="242"/>
                  <a:pt x="503" y="242"/>
                  <a:pt x="503" y="242"/>
                </a:cubicBezTo>
                <a:cubicBezTo>
                  <a:pt x="521" y="184"/>
                  <a:pt x="521" y="184"/>
                  <a:pt x="521" y="184"/>
                </a:cubicBezTo>
                <a:lnTo>
                  <a:pt x="497" y="170"/>
                </a:lnTo>
                <a:close/>
                <a:moveTo>
                  <a:pt x="352" y="211"/>
                </a:moveTo>
                <a:cubicBezTo>
                  <a:pt x="349" y="202"/>
                  <a:pt x="349" y="202"/>
                  <a:pt x="349" y="202"/>
                </a:cubicBezTo>
                <a:cubicBezTo>
                  <a:pt x="348" y="199"/>
                  <a:pt x="347" y="197"/>
                  <a:pt x="346" y="194"/>
                </a:cubicBezTo>
                <a:cubicBezTo>
                  <a:pt x="346" y="192"/>
                  <a:pt x="346" y="189"/>
                  <a:pt x="345" y="186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26" y="166"/>
                  <a:pt x="326" y="166"/>
                  <a:pt x="326" y="166"/>
                </a:cubicBezTo>
                <a:cubicBezTo>
                  <a:pt x="333" y="145"/>
                  <a:pt x="333" y="145"/>
                  <a:pt x="333" y="145"/>
                </a:cubicBezTo>
                <a:cubicBezTo>
                  <a:pt x="354" y="146"/>
                  <a:pt x="354" y="146"/>
                  <a:pt x="354" y="146"/>
                </a:cubicBezTo>
                <a:cubicBezTo>
                  <a:pt x="360" y="139"/>
                  <a:pt x="360" y="139"/>
                  <a:pt x="360" y="139"/>
                </a:cubicBezTo>
                <a:cubicBezTo>
                  <a:pt x="364" y="135"/>
                  <a:pt x="368" y="131"/>
                  <a:pt x="372" y="128"/>
                </a:cubicBezTo>
                <a:cubicBezTo>
                  <a:pt x="380" y="123"/>
                  <a:pt x="380" y="123"/>
                  <a:pt x="380" y="123"/>
                </a:cubicBezTo>
                <a:cubicBezTo>
                  <a:pt x="381" y="102"/>
                  <a:pt x="381" y="102"/>
                  <a:pt x="381" y="102"/>
                </a:cubicBezTo>
                <a:cubicBezTo>
                  <a:pt x="402" y="97"/>
                  <a:pt x="402" y="97"/>
                  <a:pt x="402" y="97"/>
                </a:cubicBezTo>
                <a:cubicBezTo>
                  <a:pt x="411" y="116"/>
                  <a:pt x="411" y="116"/>
                  <a:pt x="411" y="116"/>
                </a:cubicBezTo>
                <a:cubicBezTo>
                  <a:pt x="420" y="117"/>
                  <a:pt x="420" y="117"/>
                  <a:pt x="420" y="117"/>
                </a:cubicBezTo>
                <a:cubicBezTo>
                  <a:pt x="426" y="118"/>
                  <a:pt x="431" y="120"/>
                  <a:pt x="436" y="123"/>
                </a:cubicBezTo>
                <a:cubicBezTo>
                  <a:pt x="444" y="126"/>
                  <a:pt x="444" y="126"/>
                  <a:pt x="444" y="12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78" y="132"/>
                  <a:pt x="478" y="132"/>
                  <a:pt x="478" y="132"/>
                </a:cubicBezTo>
                <a:cubicBezTo>
                  <a:pt x="466" y="150"/>
                  <a:pt x="466" y="150"/>
                  <a:pt x="466" y="150"/>
                </a:cubicBezTo>
                <a:cubicBezTo>
                  <a:pt x="469" y="159"/>
                  <a:pt x="469" y="159"/>
                  <a:pt x="469" y="159"/>
                </a:cubicBezTo>
                <a:cubicBezTo>
                  <a:pt x="470" y="162"/>
                  <a:pt x="471" y="164"/>
                  <a:pt x="472" y="167"/>
                </a:cubicBezTo>
                <a:cubicBezTo>
                  <a:pt x="472" y="169"/>
                  <a:pt x="472" y="172"/>
                  <a:pt x="473" y="175"/>
                </a:cubicBezTo>
                <a:cubicBezTo>
                  <a:pt x="474" y="184"/>
                  <a:pt x="474" y="184"/>
                  <a:pt x="474" y="184"/>
                </a:cubicBezTo>
                <a:cubicBezTo>
                  <a:pt x="492" y="195"/>
                  <a:pt x="492" y="195"/>
                  <a:pt x="492" y="195"/>
                </a:cubicBezTo>
                <a:cubicBezTo>
                  <a:pt x="485" y="216"/>
                  <a:pt x="485" y="216"/>
                  <a:pt x="485" y="216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58" y="222"/>
                  <a:pt x="458" y="222"/>
                  <a:pt x="458" y="222"/>
                </a:cubicBezTo>
                <a:cubicBezTo>
                  <a:pt x="454" y="226"/>
                  <a:pt x="450" y="230"/>
                  <a:pt x="446" y="233"/>
                </a:cubicBezTo>
                <a:cubicBezTo>
                  <a:pt x="438" y="238"/>
                  <a:pt x="438" y="238"/>
                  <a:pt x="438" y="238"/>
                </a:cubicBezTo>
                <a:cubicBezTo>
                  <a:pt x="437" y="259"/>
                  <a:pt x="437" y="259"/>
                  <a:pt x="437" y="259"/>
                </a:cubicBezTo>
                <a:cubicBezTo>
                  <a:pt x="416" y="264"/>
                  <a:pt x="416" y="264"/>
                  <a:pt x="416" y="264"/>
                </a:cubicBezTo>
                <a:cubicBezTo>
                  <a:pt x="407" y="245"/>
                  <a:pt x="407" y="245"/>
                  <a:pt x="407" y="245"/>
                </a:cubicBezTo>
                <a:cubicBezTo>
                  <a:pt x="398" y="243"/>
                  <a:pt x="398" y="243"/>
                  <a:pt x="398" y="243"/>
                </a:cubicBezTo>
                <a:cubicBezTo>
                  <a:pt x="392" y="243"/>
                  <a:pt x="387" y="241"/>
                  <a:pt x="382" y="238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55" y="245"/>
                  <a:pt x="355" y="245"/>
                  <a:pt x="355" y="245"/>
                </a:cubicBezTo>
                <a:cubicBezTo>
                  <a:pt x="340" y="229"/>
                  <a:pt x="340" y="229"/>
                  <a:pt x="340" y="229"/>
                </a:cubicBezTo>
                <a:lnTo>
                  <a:pt x="352" y="211"/>
                </a:lnTo>
                <a:close/>
                <a:moveTo>
                  <a:pt x="389" y="212"/>
                </a:moveTo>
                <a:cubicBezTo>
                  <a:pt x="395" y="216"/>
                  <a:pt x="402" y="218"/>
                  <a:pt x="409" y="218"/>
                </a:cubicBezTo>
                <a:cubicBezTo>
                  <a:pt x="412" y="218"/>
                  <a:pt x="414" y="218"/>
                  <a:pt x="417" y="217"/>
                </a:cubicBezTo>
                <a:cubicBezTo>
                  <a:pt x="437" y="213"/>
                  <a:pt x="450" y="193"/>
                  <a:pt x="446" y="172"/>
                </a:cubicBezTo>
                <a:cubicBezTo>
                  <a:pt x="446" y="172"/>
                  <a:pt x="446" y="172"/>
                  <a:pt x="446" y="172"/>
                </a:cubicBezTo>
                <a:cubicBezTo>
                  <a:pt x="441" y="152"/>
                  <a:pt x="421" y="139"/>
                  <a:pt x="401" y="144"/>
                </a:cubicBezTo>
                <a:cubicBezTo>
                  <a:pt x="391" y="146"/>
                  <a:pt x="383" y="152"/>
                  <a:pt x="377" y="160"/>
                </a:cubicBezTo>
                <a:cubicBezTo>
                  <a:pt x="372" y="169"/>
                  <a:pt x="370" y="179"/>
                  <a:pt x="372" y="189"/>
                </a:cubicBezTo>
                <a:cubicBezTo>
                  <a:pt x="374" y="198"/>
                  <a:pt x="380" y="207"/>
                  <a:pt x="389" y="212"/>
                </a:cubicBezTo>
                <a:close/>
                <a:moveTo>
                  <a:pt x="398" y="173"/>
                </a:moveTo>
                <a:cubicBezTo>
                  <a:pt x="400" y="170"/>
                  <a:pt x="403" y="168"/>
                  <a:pt x="406" y="168"/>
                </a:cubicBezTo>
                <a:cubicBezTo>
                  <a:pt x="407" y="167"/>
                  <a:pt x="408" y="167"/>
                  <a:pt x="409" y="167"/>
                </a:cubicBezTo>
                <a:cubicBezTo>
                  <a:pt x="415" y="167"/>
                  <a:pt x="420" y="172"/>
                  <a:pt x="422" y="178"/>
                </a:cubicBezTo>
                <a:cubicBezTo>
                  <a:pt x="423" y="181"/>
                  <a:pt x="422" y="185"/>
                  <a:pt x="420" y="188"/>
                </a:cubicBezTo>
                <a:cubicBezTo>
                  <a:pt x="418" y="190"/>
                  <a:pt x="415" y="193"/>
                  <a:pt x="412" y="193"/>
                </a:cubicBezTo>
                <a:cubicBezTo>
                  <a:pt x="405" y="195"/>
                  <a:pt x="398" y="190"/>
                  <a:pt x="396" y="183"/>
                </a:cubicBezTo>
                <a:cubicBezTo>
                  <a:pt x="395" y="180"/>
                  <a:pt x="396" y="176"/>
                  <a:pt x="398" y="173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8" name="Google Shape;5378;p388">
            <a:extLst>
              <a:ext uri="{FF2B5EF4-FFF2-40B4-BE49-F238E27FC236}">
                <a16:creationId xmlns:a16="http://schemas.microsoft.com/office/drawing/2014/main" id="{D2A4D3C6-F5F9-403B-AD30-E4F6A411334C}"/>
              </a:ext>
            </a:extLst>
          </p:cNvPr>
          <p:cNvSpPr/>
          <p:nvPr/>
        </p:nvSpPr>
        <p:spPr>
          <a:xfrm>
            <a:off x="487266" y="2325903"/>
            <a:ext cx="374904" cy="374904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7" tIns="34267" rIns="68567" bIns="34267" anchor="t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39" name="Google Shape;5379;p388">
            <a:extLst>
              <a:ext uri="{FF2B5EF4-FFF2-40B4-BE49-F238E27FC236}">
                <a16:creationId xmlns:a16="http://schemas.microsoft.com/office/drawing/2014/main" id="{284CB9F2-1FC1-4560-9C95-2FD0EDB4B7D1}"/>
              </a:ext>
            </a:extLst>
          </p:cNvPr>
          <p:cNvSpPr/>
          <p:nvPr/>
        </p:nvSpPr>
        <p:spPr>
          <a:xfrm>
            <a:off x="4407624" y="1548801"/>
            <a:ext cx="374905" cy="374905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25"/>
                </a:moveTo>
                <a:cubicBezTo>
                  <a:pt x="551" y="406"/>
                  <a:pt x="551" y="406"/>
                  <a:pt x="551" y="406"/>
                </a:cubicBezTo>
                <a:cubicBezTo>
                  <a:pt x="548" y="404"/>
                  <a:pt x="544" y="402"/>
                  <a:pt x="540" y="401"/>
                </a:cubicBezTo>
                <a:cubicBezTo>
                  <a:pt x="531" y="397"/>
                  <a:pt x="519" y="393"/>
                  <a:pt x="504" y="388"/>
                </a:cubicBezTo>
                <a:cubicBezTo>
                  <a:pt x="503" y="388"/>
                  <a:pt x="503" y="388"/>
                  <a:pt x="503" y="388"/>
                </a:cubicBezTo>
                <a:cubicBezTo>
                  <a:pt x="489" y="383"/>
                  <a:pt x="481" y="390"/>
                  <a:pt x="477" y="396"/>
                </a:cubicBezTo>
                <a:cubicBezTo>
                  <a:pt x="476" y="397"/>
                  <a:pt x="475" y="398"/>
                  <a:pt x="472" y="398"/>
                </a:cubicBezTo>
                <a:cubicBezTo>
                  <a:pt x="469" y="398"/>
                  <a:pt x="468" y="397"/>
                  <a:pt x="467" y="396"/>
                </a:cubicBezTo>
                <a:cubicBezTo>
                  <a:pt x="463" y="390"/>
                  <a:pt x="455" y="383"/>
                  <a:pt x="440" y="388"/>
                </a:cubicBezTo>
                <a:cubicBezTo>
                  <a:pt x="439" y="388"/>
                  <a:pt x="439" y="388"/>
                  <a:pt x="439" y="388"/>
                </a:cubicBezTo>
                <a:cubicBezTo>
                  <a:pt x="425" y="393"/>
                  <a:pt x="413" y="397"/>
                  <a:pt x="404" y="401"/>
                </a:cubicBezTo>
                <a:cubicBezTo>
                  <a:pt x="394" y="404"/>
                  <a:pt x="386" y="410"/>
                  <a:pt x="380" y="418"/>
                </a:cubicBezTo>
                <a:cubicBezTo>
                  <a:pt x="374" y="410"/>
                  <a:pt x="366" y="404"/>
                  <a:pt x="356" y="401"/>
                </a:cubicBezTo>
                <a:cubicBezTo>
                  <a:pt x="347" y="397"/>
                  <a:pt x="335" y="393"/>
                  <a:pt x="320" y="388"/>
                </a:cubicBezTo>
                <a:cubicBezTo>
                  <a:pt x="319" y="388"/>
                  <a:pt x="319" y="388"/>
                  <a:pt x="319" y="388"/>
                </a:cubicBezTo>
                <a:cubicBezTo>
                  <a:pt x="305" y="383"/>
                  <a:pt x="297" y="390"/>
                  <a:pt x="293" y="396"/>
                </a:cubicBezTo>
                <a:cubicBezTo>
                  <a:pt x="292" y="397"/>
                  <a:pt x="291" y="398"/>
                  <a:pt x="288" y="398"/>
                </a:cubicBezTo>
                <a:cubicBezTo>
                  <a:pt x="285" y="398"/>
                  <a:pt x="284" y="397"/>
                  <a:pt x="283" y="396"/>
                </a:cubicBezTo>
                <a:cubicBezTo>
                  <a:pt x="279" y="390"/>
                  <a:pt x="271" y="383"/>
                  <a:pt x="257" y="388"/>
                </a:cubicBezTo>
                <a:cubicBezTo>
                  <a:pt x="256" y="388"/>
                  <a:pt x="256" y="388"/>
                  <a:pt x="256" y="388"/>
                </a:cubicBezTo>
                <a:cubicBezTo>
                  <a:pt x="241" y="393"/>
                  <a:pt x="229" y="397"/>
                  <a:pt x="220" y="401"/>
                </a:cubicBezTo>
                <a:cubicBezTo>
                  <a:pt x="210" y="404"/>
                  <a:pt x="202" y="410"/>
                  <a:pt x="196" y="418"/>
                </a:cubicBezTo>
                <a:cubicBezTo>
                  <a:pt x="190" y="410"/>
                  <a:pt x="182" y="404"/>
                  <a:pt x="172" y="401"/>
                </a:cubicBezTo>
                <a:cubicBezTo>
                  <a:pt x="163" y="397"/>
                  <a:pt x="151" y="393"/>
                  <a:pt x="136" y="388"/>
                </a:cubicBezTo>
                <a:cubicBezTo>
                  <a:pt x="136" y="388"/>
                  <a:pt x="136" y="388"/>
                  <a:pt x="136" y="388"/>
                </a:cubicBezTo>
                <a:cubicBezTo>
                  <a:pt x="121" y="383"/>
                  <a:pt x="113" y="390"/>
                  <a:pt x="109" y="396"/>
                </a:cubicBezTo>
                <a:cubicBezTo>
                  <a:pt x="108" y="397"/>
                  <a:pt x="107" y="398"/>
                  <a:pt x="104" y="398"/>
                </a:cubicBezTo>
                <a:cubicBezTo>
                  <a:pt x="101" y="398"/>
                  <a:pt x="100" y="397"/>
                  <a:pt x="100" y="396"/>
                </a:cubicBezTo>
                <a:cubicBezTo>
                  <a:pt x="95" y="390"/>
                  <a:pt x="87" y="383"/>
                  <a:pt x="73" y="388"/>
                </a:cubicBezTo>
                <a:cubicBezTo>
                  <a:pt x="72" y="388"/>
                  <a:pt x="72" y="388"/>
                  <a:pt x="72" y="388"/>
                </a:cubicBezTo>
                <a:cubicBezTo>
                  <a:pt x="58" y="393"/>
                  <a:pt x="45" y="397"/>
                  <a:pt x="36" y="401"/>
                </a:cubicBezTo>
                <a:cubicBezTo>
                  <a:pt x="32" y="402"/>
                  <a:pt x="28" y="404"/>
                  <a:pt x="25" y="406"/>
                </a:cubicBezTo>
                <a:cubicBezTo>
                  <a:pt x="25" y="25"/>
                  <a:pt x="25" y="25"/>
                  <a:pt x="25" y="25"/>
                </a:cubicBezTo>
                <a:lnTo>
                  <a:pt x="551" y="25"/>
                </a:lnTo>
                <a:close/>
                <a:moveTo>
                  <a:pt x="208" y="471"/>
                </a:moveTo>
                <a:cubicBezTo>
                  <a:pt x="209" y="467"/>
                  <a:pt x="211" y="450"/>
                  <a:pt x="213" y="440"/>
                </a:cubicBezTo>
                <a:cubicBezTo>
                  <a:pt x="213" y="435"/>
                  <a:pt x="218" y="428"/>
                  <a:pt x="228" y="424"/>
                </a:cubicBezTo>
                <a:cubicBezTo>
                  <a:pt x="237" y="421"/>
                  <a:pt x="249" y="417"/>
                  <a:pt x="264" y="412"/>
                </a:cubicBezTo>
                <a:cubicBezTo>
                  <a:pt x="264" y="411"/>
                  <a:pt x="264" y="411"/>
                  <a:pt x="264" y="411"/>
                </a:cubicBezTo>
                <a:cubicBezTo>
                  <a:pt x="270" y="419"/>
                  <a:pt x="278" y="422"/>
                  <a:pt x="288" y="422"/>
                </a:cubicBezTo>
                <a:cubicBezTo>
                  <a:pt x="298" y="422"/>
                  <a:pt x="306" y="419"/>
                  <a:pt x="312" y="411"/>
                </a:cubicBezTo>
                <a:cubicBezTo>
                  <a:pt x="313" y="412"/>
                  <a:pt x="313" y="412"/>
                  <a:pt x="313" y="412"/>
                </a:cubicBezTo>
                <a:cubicBezTo>
                  <a:pt x="327" y="417"/>
                  <a:pt x="339" y="421"/>
                  <a:pt x="348" y="424"/>
                </a:cubicBezTo>
                <a:cubicBezTo>
                  <a:pt x="358" y="428"/>
                  <a:pt x="363" y="435"/>
                  <a:pt x="364" y="440"/>
                </a:cubicBezTo>
                <a:cubicBezTo>
                  <a:pt x="365" y="450"/>
                  <a:pt x="367" y="467"/>
                  <a:pt x="368" y="471"/>
                </a:cubicBezTo>
                <a:cubicBezTo>
                  <a:pt x="368" y="552"/>
                  <a:pt x="368" y="552"/>
                  <a:pt x="368" y="552"/>
                </a:cubicBezTo>
                <a:cubicBezTo>
                  <a:pt x="208" y="552"/>
                  <a:pt x="208" y="552"/>
                  <a:pt x="208" y="552"/>
                </a:cubicBezTo>
                <a:lnTo>
                  <a:pt x="208" y="471"/>
                </a:lnTo>
                <a:close/>
                <a:moveTo>
                  <a:pt x="25" y="471"/>
                </a:moveTo>
                <a:cubicBezTo>
                  <a:pt x="25" y="467"/>
                  <a:pt x="28" y="450"/>
                  <a:pt x="29" y="440"/>
                </a:cubicBezTo>
                <a:cubicBezTo>
                  <a:pt x="29" y="435"/>
                  <a:pt x="34" y="428"/>
                  <a:pt x="44" y="424"/>
                </a:cubicBezTo>
                <a:cubicBezTo>
                  <a:pt x="51" y="422"/>
                  <a:pt x="62" y="418"/>
                  <a:pt x="80" y="412"/>
                </a:cubicBezTo>
                <a:cubicBezTo>
                  <a:pt x="80" y="411"/>
                  <a:pt x="80" y="411"/>
                  <a:pt x="80" y="411"/>
                </a:cubicBezTo>
                <a:cubicBezTo>
                  <a:pt x="86" y="419"/>
                  <a:pt x="94" y="422"/>
                  <a:pt x="104" y="422"/>
                </a:cubicBezTo>
                <a:cubicBezTo>
                  <a:pt x="114" y="422"/>
                  <a:pt x="122" y="419"/>
                  <a:pt x="128" y="411"/>
                </a:cubicBezTo>
                <a:cubicBezTo>
                  <a:pt x="129" y="412"/>
                  <a:pt x="129" y="412"/>
                  <a:pt x="129" y="412"/>
                </a:cubicBezTo>
                <a:cubicBezTo>
                  <a:pt x="143" y="417"/>
                  <a:pt x="155" y="421"/>
                  <a:pt x="164" y="424"/>
                </a:cubicBezTo>
                <a:cubicBezTo>
                  <a:pt x="175" y="428"/>
                  <a:pt x="179" y="435"/>
                  <a:pt x="180" y="440"/>
                </a:cubicBezTo>
                <a:cubicBezTo>
                  <a:pt x="181" y="450"/>
                  <a:pt x="183" y="467"/>
                  <a:pt x="184" y="471"/>
                </a:cubicBezTo>
                <a:cubicBezTo>
                  <a:pt x="184" y="552"/>
                  <a:pt x="184" y="552"/>
                  <a:pt x="184" y="552"/>
                </a:cubicBezTo>
                <a:cubicBezTo>
                  <a:pt x="25" y="552"/>
                  <a:pt x="25" y="552"/>
                  <a:pt x="25" y="552"/>
                </a:cubicBezTo>
                <a:lnTo>
                  <a:pt x="25" y="471"/>
                </a:lnTo>
                <a:close/>
                <a:moveTo>
                  <a:pt x="392" y="552"/>
                </a:moveTo>
                <a:cubicBezTo>
                  <a:pt x="392" y="471"/>
                  <a:pt x="392" y="471"/>
                  <a:pt x="392" y="471"/>
                </a:cubicBezTo>
                <a:cubicBezTo>
                  <a:pt x="393" y="467"/>
                  <a:pt x="395" y="450"/>
                  <a:pt x="396" y="440"/>
                </a:cubicBezTo>
                <a:cubicBezTo>
                  <a:pt x="397" y="435"/>
                  <a:pt x="401" y="428"/>
                  <a:pt x="412" y="424"/>
                </a:cubicBezTo>
                <a:cubicBezTo>
                  <a:pt x="421" y="421"/>
                  <a:pt x="433" y="417"/>
                  <a:pt x="447" y="412"/>
                </a:cubicBezTo>
                <a:cubicBezTo>
                  <a:pt x="448" y="411"/>
                  <a:pt x="448" y="411"/>
                  <a:pt x="448" y="411"/>
                </a:cubicBezTo>
                <a:cubicBezTo>
                  <a:pt x="454" y="419"/>
                  <a:pt x="462" y="422"/>
                  <a:pt x="472" y="422"/>
                </a:cubicBezTo>
                <a:cubicBezTo>
                  <a:pt x="482" y="422"/>
                  <a:pt x="490" y="419"/>
                  <a:pt x="496" y="411"/>
                </a:cubicBezTo>
                <a:cubicBezTo>
                  <a:pt x="496" y="412"/>
                  <a:pt x="496" y="412"/>
                  <a:pt x="496" y="412"/>
                </a:cubicBezTo>
                <a:cubicBezTo>
                  <a:pt x="511" y="417"/>
                  <a:pt x="523" y="421"/>
                  <a:pt x="532" y="424"/>
                </a:cubicBezTo>
                <a:cubicBezTo>
                  <a:pt x="542" y="428"/>
                  <a:pt x="547" y="435"/>
                  <a:pt x="547" y="440"/>
                </a:cubicBezTo>
                <a:cubicBezTo>
                  <a:pt x="548" y="450"/>
                  <a:pt x="551" y="467"/>
                  <a:pt x="551" y="471"/>
                </a:cubicBezTo>
                <a:cubicBezTo>
                  <a:pt x="551" y="552"/>
                  <a:pt x="551" y="552"/>
                  <a:pt x="551" y="552"/>
                </a:cubicBezTo>
                <a:lnTo>
                  <a:pt x="392" y="552"/>
                </a:lnTo>
                <a:close/>
                <a:moveTo>
                  <a:pt x="104" y="387"/>
                </a:moveTo>
                <a:cubicBezTo>
                  <a:pt x="105" y="387"/>
                  <a:pt x="105" y="387"/>
                  <a:pt x="105" y="387"/>
                </a:cubicBezTo>
                <a:cubicBezTo>
                  <a:pt x="123" y="387"/>
                  <a:pt x="144" y="369"/>
                  <a:pt x="147" y="328"/>
                </a:cubicBezTo>
                <a:cubicBezTo>
                  <a:pt x="148" y="309"/>
                  <a:pt x="141" y="297"/>
                  <a:pt x="135" y="290"/>
                </a:cubicBezTo>
                <a:cubicBezTo>
                  <a:pt x="129" y="284"/>
                  <a:pt x="123" y="281"/>
                  <a:pt x="117" y="279"/>
                </a:cubicBezTo>
                <a:cubicBezTo>
                  <a:pt x="118" y="272"/>
                  <a:pt x="120" y="260"/>
                  <a:pt x="121" y="252"/>
                </a:cubicBezTo>
                <a:cubicBezTo>
                  <a:pt x="121" y="247"/>
                  <a:pt x="126" y="239"/>
                  <a:pt x="136" y="235"/>
                </a:cubicBezTo>
                <a:cubicBezTo>
                  <a:pt x="148" y="231"/>
                  <a:pt x="164" y="226"/>
                  <a:pt x="172" y="223"/>
                </a:cubicBezTo>
                <a:cubicBezTo>
                  <a:pt x="172" y="223"/>
                  <a:pt x="172" y="223"/>
                  <a:pt x="172" y="223"/>
                </a:cubicBezTo>
                <a:cubicBezTo>
                  <a:pt x="178" y="230"/>
                  <a:pt x="186" y="234"/>
                  <a:pt x="196" y="234"/>
                </a:cubicBezTo>
                <a:cubicBezTo>
                  <a:pt x="206" y="234"/>
                  <a:pt x="214" y="230"/>
                  <a:pt x="220" y="223"/>
                </a:cubicBezTo>
                <a:cubicBezTo>
                  <a:pt x="221" y="223"/>
                  <a:pt x="221" y="223"/>
                  <a:pt x="221" y="223"/>
                </a:cubicBezTo>
                <a:cubicBezTo>
                  <a:pt x="228" y="226"/>
                  <a:pt x="244" y="231"/>
                  <a:pt x="256" y="235"/>
                </a:cubicBezTo>
                <a:cubicBezTo>
                  <a:pt x="267" y="239"/>
                  <a:pt x="271" y="247"/>
                  <a:pt x="272" y="252"/>
                </a:cubicBezTo>
                <a:cubicBezTo>
                  <a:pt x="272" y="260"/>
                  <a:pt x="274" y="272"/>
                  <a:pt x="275" y="279"/>
                </a:cubicBezTo>
                <a:cubicBezTo>
                  <a:pt x="269" y="281"/>
                  <a:pt x="263" y="285"/>
                  <a:pt x="258" y="290"/>
                </a:cubicBezTo>
                <a:cubicBezTo>
                  <a:pt x="252" y="297"/>
                  <a:pt x="245" y="309"/>
                  <a:pt x="246" y="328"/>
                </a:cubicBezTo>
                <a:cubicBezTo>
                  <a:pt x="249" y="369"/>
                  <a:pt x="269" y="387"/>
                  <a:pt x="288" y="387"/>
                </a:cubicBezTo>
                <a:cubicBezTo>
                  <a:pt x="288" y="387"/>
                  <a:pt x="288" y="387"/>
                  <a:pt x="288" y="387"/>
                </a:cubicBezTo>
                <a:cubicBezTo>
                  <a:pt x="307" y="387"/>
                  <a:pt x="327" y="369"/>
                  <a:pt x="330" y="328"/>
                </a:cubicBezTo>
                <a:cubicBezTo>
                  <a:pt x="332" y="309"/>
                  <a:pt x="325" y="297"/>
                  <a:pt x="318" y="290"/>
                </a:cubicBezTo>
                <a:cubicBezTo>
                  <a:pt x="313" y="284"/>
                  <a:pt x="307" y="281"/>
                  <a:pt x="301" y="279"/>
                </a:cubicBezTo>
                <a:cubicBezTo>
                  <a:pt x="302" y="272"/>
                  <a:pt x="304" y="260"/>
                  <a:pt x="304" y="252"/>
                </a:cubicBezTo>
                <a:cubicBezTo>
                  <a:pt x="305" y="247"/>
                  <a:pt x="309" y="239"/>
                  <a:pt x="320" y="235"/>
                </a:cubicBezTo>
                <a:cubicBezTo>
                  <a:pt x="332" y="231"/>
                  <a:pt x="348" y="226"/>
                  <a:pt x="356" y="223"/>
                </a:cubicBezTo>
                <a:cubicBezTo>
                  <a:pt x="356" y="223"/>
                  <a:pt x="356" y="223"/>
                  <a:pt x="356" y="223"/>
                </a:cubicBezTo>
                <a:cubicBezTo>
                  <a:pt x="362" y="230"/>
                  <a:pt x="370" y="234"/>
                  <a:pt x="380" y="234"/>
                </a:cubicBezTo>
                <a:cubicBezTo>
                  <a:pt x="390" y="234"/>
                  <a:pt x="398" y="230"/>
                  <a:pt x="404" y="223"/>
                </a:cubicBezTo>
                <a:cubicBezTo>
                  <a:pt x="404" y="223"/>
                  <a:pt x="404" y="223"/>
                  <a:pt x="404" y="223"/>
                </a:cubicBezTo>
                <a:cubicBezTo>
                  <a:pt x="412" y="226"/>
                  <a:pt x="428" y="231"/>
                  <a:pt x="440" y="235"/>
                </a:cubicBezTo>
                <a:cubicBezTo>
                  <a:pt x="450" y="239"/>
                  <a:pt x="455" y="247"/>
                  <a:pt x="455" y="252"/>
                </a:cubicBezTo>
                <a:cubicBezTo>
                  <a:pt x="456" y="260"/>
                  <a:pt x="458" y="272"/>
                  <a:pt x="459" y="279"/>
                </a:cubicBezTo>
                <a:cubicBezTo>
                  <a:pt x="453" y="281"/>
                  <a:pt x="447" y="285"/>
                  <a:pt x="442" y="290"/>
                </a:cubicBezTo>
                <a:cubicBezTo>
                  <a:pt x="436" y="297"/>
                  <a:pt x="428" y="309"/>
                  <a:pt x="430" y="328"/>
                </a:cubicBezTo>
                <a:cubicBezTo>
                  <a:pt x="433" y="369"/>
                  <a:pt x="453" y="387"/>
                  <a:pt x="472" y="387"/>
                </a:cubicBezTo>
                <a:cubicBezTo>
                  <a:pt x="472" y="387"/>
                  <a:pt x="472" y="387"/>
                  <a:pt x="472" y="387"/>
                </a:cubicBezTo>
                <a:cubicBezTo>
                  <a:pt x="491" y="387"/>
                  <a:pt x="511" y="369"/>
                  <a:pt x="514" y="328"/>
                </a:cubicBezTo>
                <a:cubicBezTo>
                  <a:pt x="516" y="309"/>
                  <a:pt x="509" y="297"/>
                  <a:pt x="502" y="290"/>
                </a:cubicBezTo>
                <a:cubicBezTo>
                  <a:pt x="497" y="284"/>
                  <a:pt x="490" y="280"/>
                  <a:pt x="484" y="278"/>
                </a:cubicBezTo>
                <a:cubicBezTo>
                  <a:pt x="483" y="274"/>
                  <a:pt x="481" y="258"/>
                  <a:pt x="480" y="249"/>
                </a:cubicBezTo>
                <a:cubicBezTo>
                  <a:pt x="478" y="233"/>
                  <a:pt x="466" y="219"/>
                  <a:pt x="448" y="212"/>
                </a:cubicBezTo>
                <a:cubicBezTo>
                  <a:pt x="436" y="208"/>
                  <a:pt x="420" y="203"/>
                  <a:pt x="412" y="200"/>
                </a:cubicBezTo>
                <a:cubicBezTo>
                  <a:pt x="411" y="200"/>
                  <a:pt x="411" y="200"/>
                  <a:pt x="411" y="200"/>
                </a:cubicBezTo>
                <a:cubicBezTo>
                  <a:pt x="397" y="195"/>
                  <a:pt x="389" y="201"/>
                  <a:pt x="385" y="207"/>
                </a:cubicBezTo>
                <a:cubicBezTo>
                  <a:pt x="384" y="209"/>
                  <a:pt x="383" y="209"/>
                  <a:pt x="380" y="209"/>
                </a:cubicBezTo>
                <a:cubicBezTo>
                  <a:pt x="377" y="209"/>
                  <a:pt x="376" y="209"/>
                  <a:pt x="375" y="207"/>
                </a:cubicBezTo>
                <a:cubicBezTo>
                  <a:pt x="371" y="201"/>
                  <a:pt x="363" y="195"/>
                  <a:pt x="348" y="200"/>
                </a:cubicBezTo>
                <a:cubicBezTo>
                  <a:pt x="348" y="200"/>
                  <a:pt x="348" y="200"/>
                  <a:pt x="348" y="200"/>
                </a:cubicBezTo>
                <a:cubicBezTo>
                  <a:pt x="340" y="203"/>
                  <a:pt x="324" y="208"/>
                  <a:pt x="312" y="212"/>
                </a:cubicBezTo>
                <a:cubicBezTo>
                  <a:pt x="302" y="216"/>
                  <a:pt x="294" y="222"/>
                  <a:pt x="288" y="229"/>
                </a:cubicBezTo>
                <a:cubicBezTo>
                  <a:pt x="282" y="222"/>
                  <a:pt x="274" y="216"/>
                  <a:pt x="264" y="212"/>
                </a:cubicBezTo>
                <a:cubicBezTo>
                  <a:pt x="252" y="208"/>
                  <a:pt x="236" y="203"/>
                  <a:pt x="228" y="200"/>
                </a:cubicBezTo>
                <a:cubicBezTo>
                  <a:pt x="228" y="200"/>
                  <a:pt x="228" y="200"/>
                  <a:pt x="228" y="200"/>
                </a:cubicBezTo>
                <a:cubicBezTo>
                  <a:pt x="213" y="195"/>
                  <a:pt x="205" y="201"/>
                  <a:pt x="201" y="207"/>
                </a:cubicBezTo>
                <a:cubicBezTo>
                  <a:pt x="200" y="209"/>
                  <a:pt x="199" y="209"/>
                  <a:pt x="196" y="209"/>
                </a:cubicBezTo>
                <a:cubicBezTo>
                  <a:pt x="193" y="209"/>
                  <a:pt x="192" y="209"/>
                  <a:pt x="191" y="207"/>
                </a:cubicBezTo>
                <a:cubicBezTo>
                  <a:pt x="187" y="201"/>
                  <a:pt x="179" y="195"/>
                  <a:pt x="165" y="200"/>
                </a:cubicBezTo>
                <a:cubicBezTo>
                  <a:pt x="164" y="200"/>
                  <a:pt x="164" y="200"/>
                  <a:pt x="164" y="200"/>
                </a:cubicBezTo>
                <a:cubicBezTo>
                  <a:pt x="156" y="203"/>
                  <a:pt x="140" y="208"/>
                  <a:pt x="128" y="212"/>
                </a:cubicBezTo>
                <a:cubicBezTo>
                  <a:pt x="110" y="219"/>
                  <a:pt x="98" y="233"/>
                  <a:pt x="96" y="249"/>
                </a:cubicBezTo>
                <a:cubicBezTo>
                  <a:pt x="95" y="258"/>
                  <a:pt x="93" y="274"/>
                  <a:pt x="92" y="278"/>
                </a:cubicBezTo>
                <a:cubicBezTo>
                  <a:pt x="86" y="281"/>
                  <a:pt x="80" y="284"/>
                  <a:pt x="74" y="290"/>
                </a:cubicBezTo>
                <a:cubicBezTo>
                  <a:pt x="68" y="297"/>
                  <a:pt x="61" y="309"/>
                  <a:pt x="62" y="328"/>
                </a:cubicBezTo>
                <a:cubicBezTo>
                  <a:pt x="65" y="369"/>
                  <a:pt x="85" y="387"/>
                  <a:pt x="104" y="387"/>
                </a:cubicBezTo>
                <a:close/>
                <a:moveTo>
                  <a:pt x="490" y="326"/>
                </a:moveTo>
                <a:cubicBezTo>
                  <a:pt x="488" y="351"/>
                  <a:pt x="478" y="362"/>
                  <a:pt x="472" y="362"/>
                </a:cubicBezTo>
                <a:cubicBezTo>
                  <a:pt x="472" y="362"/>
                  <a:pt x="472" y="362"/>
                  <a:pt x="472" y="362"/>
                </a:cubicBezTo>
                <a:cubicBezTo>
                  <a:pt x="466" y="362"/>
                  <a:pt x="456" y="351"/>
                  <a:pt x="454" y="326"/>
                </a:cubicBezTo>
                <a:cubicBezTo>
                  <a:pt x="454" y="318"/>
                  <a:pt x="456" y="311"/>
                  <a:pt x="460" y="307"/>
                </a:cubicBezTo>
                <a:cubicBezTo>
                  <a:pt x="464" y="302"/>
                  <a:pt x="470" y="301"/>
                  <a:pt x="472" y="301"/>
                </a:cubicBezTo>
                <a:cubicBezTo>
                  <a:pt x="472" y="301"/>
                  <a:pt x="472" y="301"/>
                  <a:pt x="472" y="301"/>
                </a:cubicBezTo>
                <a:cubicBezTo>
                  <a:pt x="474" y="301"/>
                  <a:pt x="480" y="302"/>
                  <a:pt x="484" y="307"/>
                </a:cubicBezTo>
                <a:cubicBezTo>
                  <a:pt x="489" y="311"/>
                  <a:pt x="490" y="318"/>
                  <a:pt x="490" y="326"/>
                </a:cubicBezTo>
                <a:close/>
                <a:moveTo>
                  <a:pt x="306" y="326"/>
                </a:moveTo>
                <a:cubicBezTo>
                  <a:pt x="304" y="351"/>
                  <a:pt x="295" y="362"/>
                  <a:pt x="288" y="362"/>
                </a:cubicBezTo>
                <a:cubicBezTo>
                  <a:pt x="288" y="362"/>
                  <a:pt x="288" y="362"/>
                  <a:pt x="288" y="362"/>
                </a:cubicBezTo>
                <a:cubicBezTo>
                  <a:pt x="282" y="362"/>
                  <a:pt x="272" y="351"/>
                  <a:pt x="271" y="326"/>
                </a:cubicBezTo>
                <a:cubicBezTo>
                  <a:pt x="270" y="318"/>
                  <a:pt x="272" y="311"/>
                  <a:pt x="276" y="307"/>
                </a:cubicBezTo>
                <a:cubicBezTo>
                  <a:pt x="280" y="302"/>
                  <a:pt x="286" y="301"/>
                  <a:pt x="288" y="301"/>
                </a:cubicBezTo>
                <a:cubicBezTo>
                  <a:pt x="288" y="301"/>
                  <a:pt x="288" y="301"/>
                  <a:pt x="288" y="301"/>
                </a:cubicBezTo>
                <a:cubicBezTo>
                  <a:pt x="290" y="301"/>
                  <a:pt x="296" y="302"/>
                  <a:pt x="300" y="307"/>
                </a:cubicBezTo>
                <a:cubicBezTo>
                  <a:pt x="305" y="311"/>
                  <a:pt x="306" y="318"/>
                  <a:pt x="306" y="326"/>
                </a:cubicBezTo>
                <a:close/>
                <a:moveTo>
                  <a:pt x="92" y="307"/>
                </a:moveTo>
                <a:cubicBezTo>
                  <a:pt x="96" y="302"/>
                  <a:pt x="102" y="301"/>
                  <a:pt x="104" y="301"/>
                </a:cubicBezTo>
                <a:cubicBezTo>
                  <a:pt x="105" y="301"/>
                  <a:pt x="105" y="301"/>
                  <a:pt x="105" y="301"/>
                </a:cubicBezTo>
                <a:cubicBezTo>
                  <a:pt x="107" y="301"/>
                  <a:pt x="112" y="302"/>
                  <a:pt x="117" y="307"/>
                </a:cubicBezTo>
                <a:cubicBezTo>
                  <a:pt x="121" y="311"/>
                  <a:pt x="123" y="318"/>
                  <a:pt x="122" y="326"/>
                </a:cubicBezTo>
                <a:cubicBezTo>
                  <a:pt x="120" y="351"/>
                  <a:pt x="111" y="362"/>
                  <a:pt x="105" y="362"/>
                </a:cubicBezTo>
                <a:cubicBezTo>
                  <a:pt x="104" y="362"/>
                  <a:pt x="104" y="362"/>
                  <a:pt x="104" y="362"/>
                </a:cubicBezTo>
                <a:cubicBezTo>
                  <a:pt x="98" y="362"/>
                  <a:pt x="88" y="351"/>
                  <a:pt x="87" y="326"/>
                </a:cubicBezTo>
                <a:cubicBezTo>
                  <a:pt x="86" y="318"/>
                  <a:pt x="88" y="311"/>
                  <a:pt x="92" y="307"/>
                </a:cubicBezTo>
                <a:close/>
                <a:moveTo>
                  <a:pt x="196" y="198"/>
                </a:moveTo>
                <a:cubicBezTo>
                  <a:pt x="197" y="198"/>
                  <a:pt x="197" y="198"/>
                  <a:pt x="197" y="198"/>
                </a:cubicBezTo>
                <a:cubicBezTo>
                  <a:pt x="215" y="198"/>
                  <a:pt x="236" y="180"/>
                  <a:pt x="238" y="140"/>
                </a:cubicBezTo>
                <a:cubicBezTo>
                  <a:pt x="240" y="120"/>
                  <a:pt x="233" y="108"/>
                  <a:pt x="227" y="102"/>
                </a:cubicBezTo>
                <a:cubicBezTo>
                  <a:pt x="217" y="91"/>
                  <a:pt x="204" y="88"/>
                  <a:pt x="197" y="88"/>
                </a:cubicBezTo>
                <a:cubicBezTo>
                  <a:pt x="196" y="88"/>
                  <a:pt x="196" y="88"/>
                  <a:pt x="196" y="88"/>
                </a:cubicBezTo>
                <a:cubicBezTo>
                  <a:pt x="188" y="88"/>
                  <a:pt x="176" y="91"/>
                  <a:pt x="166" y="102"/>
                </a:cubicBezTo>
                <a:cubicBezTo>
                  <a:pt x="160" y="108"/>
                  <a:pt x="153" y="120"/>
                  <a:pt x="154" y="140"/>
                </a:cubicBezTo>
                <a:cubicBezTo>
                  <a:pt x="157" y="180"/>
                  <a:pt x="177" y="198"/>
                  <a:pt x="196" y="198"/>
                </a:cubicBezTo>
                <a:close/>
                <a:moveTo>
                  <a:pt x="184" y="118"/>
                </a:moveTo>
                <a:cubicBezTo>
                  <a:pt x="188" y="114"/>
                  <a:pt x="194" y="112"/>
                  <a:pt x="196" y="112"/>
                </a:cubicBezTo>
                <a:cubicBezTo>
                  <a:pt x="197" y="112"/>
                  <a:pt x="197" y="112"/>
                  <a:pt x="197" y="112"/>
                </a:cubicBezTo>
                <a:cubicBezTo>
                  <a:pt x="198" y="112"/>
                  <a:pt x="204" y="114"/>
                  <a:pt x="209" y="118"/>
                </a:cubicBezTo>
                <a:cubicBezTo>
                  <a:pt x="213" y="123"/>
                  <a:pt x="215" y="129"/>
                  <a:pt x="214" y="138"/>
                </a:cubicBezTo>
                <a:cubicBezTo>
                  <a:pt x="212" y="162"/>
                  <a:pt x="203" y="173"/>
                  <a:pt x="197" y="173"/>
                </a:cubicBezTo>
                <a:cubicBezTo>
                  <a:pt x="196" y="173"/>
                  <a:pt x="196" y="173"/>
                  <a:pt x="196" y="173"/>
                </a:cubicBezTo>
                <a:cubicBezTo>
                  <a:pt x="190" y="173"/>
                  <a:pt x="180" y="162"/>
                  <a:pt x="179" y="138"/>
                </a:cubicBezTo>
                <a:cubicBezTo>
                  <a:pt x="178" y="129"/>
                  <a:pt x="180" y="123"/>
                  <a:pt x="184" y="118"/>
                </a:cubicBezTo>
                <a:close/>
                <a:moveTo>
                  <a:pt x="380" y="198"/>
                </a:moveTo>
                <a:cubicBezTo>
                  <a:pt x="380" y="198"/>
                  <a:pt x="380" y="198"/>
                  <a:pt x="380" y="198"/>
                </a:cubicBezTo>
                <a:cubicBezTo>
                  <a:pt x="399" y="198"/>
                  <a:pt x="419" y="180"/>
                  <a:pt x="422" y="140"/>
                </a:cubicBezTo>
                <a:cubicBezTo>
                  <a:pt x="424" y="120"/>
                  <a:pt x="417" y="108"/>
                  <a:pt x="410" y="102"/>
                </a:cubicBezTo>
                <a:cubicBezTo>
                  <a:pt x="401" y="91"/>
                  <a:pt x="388" y="88"/>
                  <a:pt x="380" y="88"/>
                </a:cubicBezTo>
                <a:cubicBezTo>
                  <a:pt x="380" y="88"/>
                  <a:pt x="380" y="88"/>
                  <a:pt x="380" y="88"/>
                </a:cubicBezTo>
                <a:cubicBezTo>
                  <a:pt x="372" y="88"/>
                  <a:pt x="359" y="91"/>
                  <a:pt x="350" y="102"/>
                </a:cubicBezTo>
                <a:cubicBezTo>
                  <a:pt x="344" y="108"/>
                  <a:pt x="337" y="120"/>
                  <a:pt x="338" y="140"/>
                </a:cubicBezTo>
                <a:cubicBezTo>
                  <a:pt x="341" y="180"/>
                  <a:pt x="361" y="198"/>
                  <a:pt x="380" y="198"/>
                </a:cubicBezTo>
                <a:close/>
                <a:moveTo>
                  <a:pt x="368" y="118"/>
                </a:moveTo>
                <a:cubicBezTo>
                  <a:pt x="372" y="114"/>
                  <a:pt x="378" y="112"/>
                  <a:pt x="380" y="112"/>
                </a:cubicBezTo>
                <a:cubicBezTo>
                  <a:pt x="380" y="112"/>
                  <a:pt x="380" y="112"/>
                  <a:pt x="380" y="112"/>
                </a:cubicBezTo>
                <a:cubicBezTo>
                  <a:pt x="382" y="112"/>
                  <a:pt x="388" y="114"/>
                  <a:pt x="392" y="118"/>
                </a:cubicBezTo>
                <a:cubicBezTo>
                  <a:pt x="397" y="123"/>
                  <a:pt x="398" y="129"/>
                  <a:pt x="398" y="138"/>
                </a:cubicBezTo>
                <a:cubicBezTo>
                  <a:pt x="396" y="162"/>
                  <a:pt x="387" y="173"/>
                  <a:pt x="380" y="173"/>
                </a:cubicBezTo>
                <a:cubicBezTo>
                  <a:pt x="380" y="173"/>
                  <a:pt x="380" y="173"/>
                  <a:pt x="380" y="173"/>
                </a:cubicBezTo>
                <a:cubicBezTo>
                  <a:pt x="374" y="173"/>
                  <a:pt x="364" y="162"/>
                  <a:pt x="362" y="138"/>
                </a:cubicBezTo>
                <a:cubicBezTo>
                  <a:pt x="362" y="129"/>
                  <a:pt x="364" y="123"/>
                  <a:pt x="368" y="11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0" name="Google Shape;5380;p388">
            <a:extLst>
              <a:ext uri="{FF2B5EF4-FFF2-40B4-BE49-F238E27FC236}">
                <a16:creationId xmlns:a16="http://schemas.microsoft.com/office/drawing/2014/main" id="{10E8ECAB-FCA5-46CF-BA29-0243DE3A4A9A}"/>
              </a:ext>
            </a:extLst>
          </p:cNvPr>
          <p:cNvSpPr/>
          <p:nvPr/>
        </p:nvSpPr>
        <p:spPr>
          <a:xfrm>
            <a:off x="4451089" y="2324239"/>
            <a:ext cx="377175" cy="378231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72" y="191"/>
                </a:moveTo>
                <a:cubicBezTo>
                  <a:pt x="96" y="191"/>
                  <a:pt x="96" y="191"/>
                  <a:pt x="96" y="191"/>
                </a:cubicBezTo>
                <a:cubicBezTo>
                  <a:pt x="96" y="216"/>
                  <a:pt x="96" y="216"/>
                  <a:pt x="96" y="216"/>
                </a:cubicBezTo>
                <a:cubicBezTo>
                  <a:pt x="72" y="216"/>
                  <a:pt x="72" y="216"/>
                  <a:pt x="72" y="216"/>
                </a:cubicBezTo>
                <a:lnTo>
                  <a:pt x="72" y="191"/>
                </a:lnTo>
                <a:close/>
                <a:moveTo>
                  <a:pt x="168" y="96"/>
                </a:moveTo>
                <a:cubicBezTo>
                  <a:pt x="192" y="96"/>
                  <a:pt x="192" y="96"/>
                  <a:pt x="192" y="96"/>
                </a:cubicBezTo>
                <a:cubicBezTo>
                  <a:pt x="192" y="216"/>
                  <a:pt x="192" y="216"/>
                  <a:pt x="192" y="216"/>
                </a:cubicBezTo>
                <a:cubicBezTo>
                  <a:pt x="168" y="216"/>
                  <a:pt x="168" y="216"/>
                  <a:pt x="168" y="216"/>
                </a:cubicBezTo>
                <a:lnTo>
                  <a:pt x="168" y="96"/>
                </a:lnTo>
                <a:close/>
                <a:moveTo>
                  <a:pt x="264" y="144"/>
                </a:moveTo>
                <a:cubicBezTo>
                  <a:pt x="288" y="144"/>
                  <a:pt x="288" y="144"/>
                  <a:pt x="288" y="144"/>
                </a:cubicBezTo>
                <a:cubicBezTo>
                  <a:pt x="288" y="216"/>
                  <a:pt x="288" y="216"/>
                  <a:pt x="288" y="216"/>
                </a:cubicBezTo>
                <a:cubicBezTo>
                  <a:pt x="264" y="216"/>
                  <a:pt x="264" y="216"/>
                  <a:pt x="264" y="216"/>
                </a:cubicBezTo>
                <a:lnTo>
                  <a:pt x="264" y="144"/>
                </a:lnTo>
                <a:close/>
                <a:moveTo>
                  <a:pt x="119" y="240"/>
                </a:moveTo>
                <a:cubicBezTo>
                  <a:pt x="143" y="240"/>
                  <a:pt x="143" y="240"/>
                  <a:pt x="143" y="240"/>
                </a:cubicBezTo>
                <a:cubicBezTo>
                  <a:pt x="215" y="240"/>
                  <a:pt x="215" y="240"/>
                  <a:pt x="215" y="240"/>
                </a:cubicBezTo>
                <a:cubicBezTo>
                  <a:pt x="240" y="240"/>
                  <a:pt x="240" y="240"/>
                  <a:pt x="240" y="240"/>
                </a:cubicBezTo>
                <a:cubicBezTo>
                  <a:pt x="311" y="240"/>
                  <a:pt x="311" y="240"/>
                  <a:pt x="311" y="240"/>
                </a:cubicBezTo>
                <a:cubicBezTo>
                  <a:pt x="360" y="240"/>
                  <a:pt x="360" y="240"/>
                  <a:pt x="360" y="240"/>
                </a:cubicBezTo>
                <a:cubicBezTo>
                  <a:pt x="360" y="216"/>
                  <a:pt x="360" y="216"/>
                  <a:pt x="360" y="216"/>
                </a:cubicBezTo>
                <a:cubicBezTo>
                  <a:pt x="311" y="216"/>
                  <a:pt x="311" y="216"/>
                  <a:pt x="311" y="216"/>
                </a:cubicBezTo>
                <a:cubicBezTo>
                  <a:pt x="311" y="119"/>
                  <a:pt x="311" y="119"/>
                  <a:pt x="311" y="119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216"/>
                  <a:pt x="240" y="216"/>
                  <a:pt x="240" y="216"/>
                </a:cubicBezTo>
                <a:cubicBezTo>
                  <a:pt x="215" y="216"/>
                  <a:pt x="215" y="216"/>
                  <a:pt x="215" y="216"/>
                </a:cubicBezTo>
                <a:cubicBezTo>
                  <a:pt x="215" y="72"/>
                  <a:pt x="215" y="72"/>
                  <a:pt x="215" y="72"/>
                </a:cubicBezTo>
                <a:cubicBezTo>
                  <a:pt x="143" y="72"/>
                  <a:pt x="143" y="72"/>
                  <a:pt x="143" y="72"/>
                </a:cubicBezTo>
                <a:cubicBezTo>
                  <a:pt x="143" y="216"/>
                  <a:pt x="143" y="216"/>
                  <a:pt x="143" y="216"/>
                </a:cubicBezTo>
                <a:cubicBezTo>
                  <a:pt x="119" y="216"/>
                  <a:pt x="119" y="216"/>
                  <a:pt x="119" y="216"/>
                </a:cubicBezTo>
                <a:cubicBezTo>
                  <a:pt x="119" y="168"/>
                  <a:pt x="119" y="168"/>
                  <a:pt x="119" y="168"/>
                </a:cubicBezTo>
                <a:cubicBezTo>
                  <a:pt x="47" y="168"/>
                  <a:pt x="47" y="168"/>
                  <a:pt x="47" y="168"/>
                </a:cubicBezTo>
                <a:cubicBezTo>
                  <a:pt x="47" y="216"/>
                  <a:pt x="47" y="216"/>
                  <a:pt x="47" y="216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240"/>
                  <a:pt x="0" y="240"/>
                  <a:pt x="0" y="240"/>
                </a:cubicBezTo>
                <a:cubicBezTo>
                  <a:pt x="47" y="240"/>
                  <a:pt x="47" y="240"/>
                  <a:pt x="47" y="240"/>
                </a:cubicBezTo>
                <a:lnTo>
                  <a:pt x="119" y="240"/>
                </a:lnTo>
                <a:close/>
                <a:moveTo>
                  <a:pt x="288" y="372"/>
                </a:moveTo>
                <a:cubicBezTo>
                  <a:pt x="288" y="349"/>
                  <a:pt x="296" y="328"/>
                  <a:pt x="313" y="312"/>
                </a:cubicBezTo>
                <a:cubicBezTo>
                  <a:pt x="329" y="296"/>
                  <a:pt x="350" y="288"/>
                  <a:pt x="372" y="288"/>
                </a:cubicBezTo>
                <a:cubicBezTo>
                  <a:pt x="393" y="288"/>
                  <a:pt x="415" y="296"/>
                  <a:pt x="431" y="312"/>
                </a:cubicBezTo>
                <a:cubicBezTo>
                  <a:pt x="447" y="328"/>
                  <a:pt x="456" y="349"/>
                  <a:pt x="456" y="372"/>
                </a:cubicBezTo>
                <a:cubicBezTo>
                  <a:pt x="456" y="394"/>
                  <a:pt x="447" y="415"/>
                  <a:pt x="431" y="431"/>
                </a:cubicBezTo>
                <a:cubicBezTo>
                  <a:pt x="416" y="447"/>
                  <a:pt x="394" y="455"/>
                  <a:pt x="372" y="455"/>
                </a:cubicBezTo>
                <a:cubicBezTo>
                  <a:pt x="353" y="455"/>
                  <a:pt x="336" y="449"/>
                  <a:pt x="322" y="439"/>
                </a:cubicBezTo>
                <a:cubicBezTo>
                  <a:pt x="384" y="377"/>
                  <a:pt x="384" y="377"/>
                  <a:pt x="384" y="377"/>
                </a:cubicBezTo>
                <a:cubicBezTo>
                  <a:pt x="384" y="408"/>
                  <a:pt x="384" y="408"/>
                  <a:pt x="384" y="408"/>
                </a:cubicBezTo>
                <a:cubicBezTo>
                  <a:pt x="408" y="408"/>
                  <a:pt x="408" y="408"/>
                  <a:pt x="408" y="408"/>
                </a:cubicBezTo>
                <a:cubicBezTo>
                  <a:pt x="408" y="336"/>
                  <a:pt x="408" y="336"/>
                  <a:pt x="408" y="336"/>
                </a:cubicBezTo>
                <a:cubicBezTo>
                  <a:pt x="336" y="336"/>
                  <a:pt x="336" y="336"/>
                  <a:pt x="336" y="336"/>
                </a:cubicBezTo>
                <a:cubicBezTo>
                  <a:pt x="336" y="360"/>
                  <a:pt x="336" y="360"/>
                  <a:pt x="336" y="360"/>
                </a:cubicBezTo>
                <a:cubicBezTo>
                  <a:pt x="367" y="360"/>
                  <a:pt x="367" y="360"/>
                  <a:pt x="367" y="360"/>
                </a:cubicBezTo>
                <a:cubicBezTo>
                  <a:pt x="305" y="422"/>
                  <a:pt x="305" y="422"/>
                  <a:pt x="305" y="422"/>
                </a:cubicBezTo>
                <a:cubicBezTo>
                  <a:pt x="294" y="407"/>
                  <a:pt x="288" y="390"/>
                  <a:pt x="288" y="372"/>
                </a:cubicBezTo>
                <a:close/>
                <a:moveTo>
                  <a:pt x="0" y="0"/>
                </a:moveTo>
                <a:cubicBezTo>
                  <a:pt x="0" y="191"/>
                  <a:pt x="0" y="191"/>
                  <a:pt x="0" y="191"/>
                </a:cubicBezTo>
                <a:cubicBezTo>
                  <a:pt x="24" y="191"/>
                  <a:pt x="24" y="191"/>
                  <a:pt x="24" y="191"/>
                </a:cubicBezTo>
                <a:cubicBezTo>
                  <a:pt x="24" y="24"/>
                  <a:pt x="24" y="24"/>
                  <a:pt x="24" y="24"/>
                </a:cubicBezTo>
                <a:cubicBezTo>
                  <a:pt x="552" y="24"/>
                  <a:pt x="552" y="24"/>
                  <a:pt x="552" y="24"/>
                </a:cubicBezTo>
                <a:cubicBezTo>
                  <a:pt x="552" y="551"/>
                  <a:pt x="552" y="551"/>
                  <a:pt x="552" y="551"/>
                </a:cubicBezTo>
                <a:cubicBezTo>
                  <a:pt x="88" y="551"/>
                  <a:pt x="88" y="551"/>
                  <a:pt x="88" y="551"/>
                </a:cubicBezTo>
                <a:cubicBezTo>
                  <a:pt x="203" y="436"/>
                  <a:pt x="203" y="436"/>
                  <a:pt x="203" y="436"/>
                </a:cubicBezTo>
                <a:cubicBezTo>
                  <a:pt x="264" y="496"/>
                  <a:pt x="264" y="496"/>
                  <a:pt x="264" y="496"/>
                </a:cubicBezTo>
                <a:cubicBezTo>
                  <a:pt x="305" y="455"/>
                  <a:pt x="305" y="455"/>
                  <a:pt x="305" y="455"/>
                </a:cubicBezTo>
                <a:cubicBezTo>
                  <a:pt x="325" y="471"/>
                  <a:pt x="348" y="479"/>
                  <a:pt x="372" y="479"/>
                </a:cubicBezTo>
                <a:cubicBezTo>
                  <a:pt x="396" y="479"/>
                  <a:pt x="419" y="471"/>
                  <a:pt x="439" y="455"/>
                </a:cubicBezTo>
                <a:cubicBezTo>
                  <a:pt x="507" y="524"/>
                  <a:pt x="507" y="524"/>
                  <a:pt x="507" y="524"/>
                </a:cubicBezTo>
                <a:cubicBezTo>
                  <a:pt x="524" y="507"/>
                  <a:pt x="524" y="507"/>
                  <a:pt x="524" y="507"/>
                </a:cubicBezTo>
                <a:cubicBezTo>
                  <a:pt x="456" y="439"/>
                  <a:pt x="456" y="439"/>
                  <a:pt x="456" y="439"/>
                </a:cubicBezTo>
                <a:cubicBezTo>
                  <a:pt x="490" y="396"/>
                  <a:pt x="487" y="334"/>
                  <a:pt x="448" y="295"/>
                </a:cubicBezTo>
                <a:cubicBezTo>
                  <a:pt x="406" y="253"/>
                  <a:pt x="337" y="253"/>
                  <a:pt x="295" y="295"/>
                </a:cubicBezTo>
                <a:cubicBezTo>
                  <a:pt x="256" y="334"/>
                  <a:pt x="254" y="396"/>
                  <a:pt x="288" y="439"/>
                </a:cubicBezTo>
                <a:cubicBezTo>
                  <a:pt x="264" y="462"/>
                  <a:pt x="264" y="462"/>
                  <a:pt x="264" y="462"/>
                </a:cubicBezTo>
                <a:cubicBezTo>
                  <a:pt x="203" y="403"/>
                  <a:pt x="203" y="403"/>
                  <a:pt x="203" y="403"/>
                </a:cubicBezTo>
                <a:cubicBezTo>
                  <a:pt x="55" y="551"/>
                  <a:pt x="55" y="551"/>
                  <a:pt x="55" y="551"/>
                </a:cubicBezTo>
                <a:cubicBezTo>
                  <a:pt x="24" y="551"/>
                  <a:pt x="24" y="551"/>
                  <a:pt x="24" y="551"/>
                </a:cubicBezTo>
                <a:cubicBezTo>
                  <a:pt x="24" y="264"/>
                  <a:pt x="24" y="264"/>
                  <a:pt x="24" y="264"/>
                </a:cubicBezTo>
                <a:cubicBezTo>
                  <a:pt x="0" y="264"/>
                  <a:pt x="0" y="264"/>
                  <a:pt x="0" y="264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336" y="96"/>
                </a:moveTo>
                <a:cubicBezTo>
                  <a:pt x="456" y="96"/>
                  <a:pt x="456" y="96"/>
                  <a:pt x="456" y="96"/>
                </a:cubicBezTo>
                <a:cubicBezTo>
                  <a:pt x="456" y="72"/>
                  <a:pt x="456" y="72"/>
                  <a:pt x="456" y="72"/>
                </a:cubicBezTo>
                <a:cubicBezTo>
                  <a:pt x="336" y="72"/>
                  <a:pt x="336" y="72"/>
                  <a:pt x="336" y="72"/>
                </a:cubicBezTo>
                <a:lnTo>
                  <a:pt x="336" y="96"/>
                </a:lnTo>
                <a:close/>
                <a:moveTo>
                  <a:pt x="480" y="96"/>
                </a:moveTo>
                <a:cubicBezTo>
                  <a:pt x="503" y="96"/>
                  <a:pt x="503" y="96"/>
                  <a:pt x="503" y="96"/>
                </a:cubicBezTo>
                <a:cubicBezTo>
                  <a:pt x="503" y="72"/>
                  <a:pt x="503" y="72"/>
                  <a:pt x="503" y="72"/>
                </a:cubicBezTo>
                <a:cubicBezTo>
                  <a:pt x="480" y="72"/>
                  <a:pt x="480" y="72"/>
                  <a:pt x="480" y="72"/>
                </a:cubicBezTo>
                <a:lnTo>
                  <a:pt x="480" y="96"/>
                </a:lnTo>
                <a:close/>
                <a:moveTo>
                  <a:pt x="431" y="144"/>
                </a:moveTo>
                <a:cubicBezTo>
                  <a:pt x="503" y="144"/>
                  <a:pt x="503" y="144"/>
                  <a:pt x="503" y="144"/>
                </a:cubicBezTo>
                <a:cubicBezTo>
                  <a:pt x="503" y="119"/>
                  <a:pt x="503" y="119"/>
                  <a:pt x="503" y="119"/>
                </a:cubicBezTo>
                <a:cubicBezTo>
                  <a:pt x="431" y="119"/>
                  <a:pt x="431" y="119"/>
                  <a:pt x="431" y="119"/>
                </a:cubicBezTo>
                <a:lnTo>
                  <a:pt x="431" y="144"/>
                </a:lnTo>
                <a:close/>
                <a:moveTo>
                  <a:pt x="360" y="144"/>
                </a:moveTo>
                <a:cubicBezTo>
                  <a:pt x="407" y="144"/>
                  <a:pt x="407" y="144"/>
                  <a:pt x="407" y="144"/>
                </a:cubicBezTo>
                <a:cubicBezTo>
                  <a:pt x="407" y="119"/>
                  <a:pt x="407" y="119"/>
                  <a:pt x="407" y="119"/>
                </a:cubicBezTo>
                <a:cubicBezTo>
                  <a:pt x="360" y="119"/>
                  <a:pt x="360" y="119"/>
                  <a:pt x="360" y="119"/>
                </a:cubicBezTo>
                <a:lnTo>
                  <a:pt x="360" y="144"/>
                </a:lnTo>
                <a:close/>
                <a:moveTo>
                  <a:pt x="119" y="312"/>
                </a:moveTo>
                <a:cubicBezTo>
                  <a:pt x="240" y="312"/>
                  <a:pt x="240" y="312"/>
                  <a:pt x="240" y="312"/>
                </a:cubicBezTo>
                <a:cubicBezTo>
                  <a:pt x="240" y="287"/>
                  <a:pt x="240" y="287"/>
                  <a:pt x="240" y="287"/>
                </a:cubicBezTo>
                <a:cubicBezTo>
                  <a:pt x="119" y="287"/>
                  <a:pt x="119" y="287"/>
                  <a:pt x="119" y="287"/>
                </a:cubicBezTo>
                <a:lnTo>
                  <a:pt x="119" y="312"/>
                </a:lnTo>
                <a:close/>
                <a:moveTo>
                  <a:pt x="72" y="312"/>
                </a:moveTo>
                <a:cubicBezTo>
                  <a:pt x="96" y="312"/>
                  <a:pt x="96" y="312"/>
                  <a:pt x="96" y="312"/>
                </a:cubicBezTo>
                <a:cubicBezTo>
                  <a:pt x="96" y="287"/>
                  <a:pt x="96" y="287"/>
                  <a:pt x="96" y="287"/>
                </a:cubicBezTo>
                <a:cubicBezTo>
                  <a:pt x="72" y="287"/>
                  <a:pt x="72" y="287"/>
                  <a:pt x="72" y="287"/>
                </a:cubicBezTo>
                <a:lnTo>
                  <a:pt x="72" y="312"/>
                </a:lnTo>
                <a:close/>
                <a:moveTo>
                  <a:pt x="72" y="359"/>
                </a:moveTo>
                <a:cubicBezTo>
                  <a:pt x="143" y="359"/>
                  <a:pt x="143" y="359"/>
                  <a:pt x="143" y="359"/>
                </a:cubicBezTo>
                <a:cubicBezTo>
                  <a:pt x="143" y="336"/>
                  <a:pt x="143" y="336"/>
                  <a:pt x="143" y="336"/>
                </a:cubicBezTo>
                <a:cubicBezTo>
                  <a:pt x="72" y="336"/>
                  <a:pt x="72" y="336"/>
                  <a:pt x="72" y="336"/>
                </a:cubicBezTo>
                <a:lnTo>
                  <a:pt x="72" y="359"/>
                </a:lnTo>
                <a:close/>
                <a:moveTo>
                  <a:pt x="168" y="359"/>
                </a:moveTo>
                <a:cubicBezTo>
                  <a:pt x="215" y="359"/>
                  <a:pt x="215" y="359"/>
                  <a:pt x="215" y="359"/>
                </a:cubicBezTo>
                <a:cubicBezTo>
                  <a:pt x="215" y="336"/>
                  <a:pt x="215" y="336"/>
                  <a:pt x="215" y="336"/>
                </a:cubicBezTo>
                <a:cubicBezTo>
                  <a:pt x="168" y="336"/>
                  <a:pt x="168" y="336"/>
                  <a:pt x="168" y="336"/>
                </a:cubicBezTo>
                <a:lnTo>
                  <a:pt x="168" y="35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2" name="Google Shape;5352;p388">
            <a:extLst>
              <a:ext uri="{FF2B5EF4-FFF2-40B4-BE49-F238E27FC236}">
                <a16:creationId xmlns:a16="http://schemas.microsoft.com/office/drawing/2014/main" id="{B17202ED-50A4-492A-BC40-65FDCE7B7883}"/>
              </a:ext>
            </a:extLst>
          </p:cNvPr>
          <p:cNvSpPr/>
          <p:nvPr/>
        </p:nvSpPr>
        <p:spPr>
          <a:xfrm>
            <a:off x="8858136" y="1552327"/>
            <a:ext cx="2928800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Enabler and not an impediment to innovation and growth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3" name="Google Shape;5369;p388">
            <a:extLst>
              <a:ext uri="{FF2B5EF4-FFF2-40B4-BE49-F238E27FC236}">
                <a16:creationId xmlns:a16="http://schemas.microsoft.com/office/drawing/2014/main" id="{C61FF684-7D11-4195-9938-8BB72B48E75E}"/>
              </a:ext>
            </a:extLst>
          </p:cNvPr>
          <p:cNvSpPr/>
          <p:nvPr/>
        </p:nvSpPr>
        <p:spPr>
          <a:xfrm>
            <a:off x="8858136" y="2329779"/>
            <a:ext cx="3104476" cy="6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Maintains healthy balance amongst interests of all stakeholders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4" name="Google Shape;5372;p388">
            <a:extLst>
              <a:ext uri="{FF2B5EF4-FFF2-40B4-BE49-F238E27FC236}">
                <a16:creationId xmlns:a16="http://schemas.microsoft.com/office/drawing/2014/main" id="{DD0E863E-28CC-4099-B17B-FE9228527AF6}"/>
              </a:ext>
            </a:extLst>
          </p:cNvPr>
          <p:cNvSpPr/>
          <p:nvPr/>
        </p:nvSpPr>
        <p:spPr>
          <a:xfrm>
            <a:off x="8295588" y="2263355"/>
            <a:ext cx="500000" cy="500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5" name="Google Shape;5376;p388">
            <a:extLst>
              <a:ext uri="{FF2B5EF4-FFF2-40B4-BE49-F238E27FC236}">
                <a16:creationId xmlns:a16="http://schemas.microsoft.com/office/drawing/2014/main" id="{70B24E5B-5D21-45EB-8E18-C22B744C9B6C}"/>
              </a:ext>
            </a:extLst>
          </p:cNvPr>
          <p:cNvSpPr/>
          <p:nvPr/>
        </p:nvSpPr>
        <p:spPr>
          <a:xfrm>
            <a:off x="8295588" y="1483652"/>
            <a:ext cx="505200" cy="5052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6" name="Google Shape;5377;p388">
            <a:extLst>
              <a:ext uri="{FF2B5EF4-FFF2-40B4-BE49-F238E27FC236}">
                <a16:creationId xmlns:a16="http://schemas.microsoft.com/office/drawing/2014/main" id="{03B1B805-591D-4672-8F00-51357D9D2260}"/>
              </a:ext>
            </a:extLst>
          </p:cNvPr>
          <p:cNvSpPr/>
          <p:nvPr/>
        </p:nvSpPr>
        <p:spPr>
          <a:xfrm>
            <a:off x="8359601" y="1547127"/>
            <a:ext cx="377175" cy="37825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198" y="317"/>
                </a:moveTo>
                <a:cubicBezTo>
                  <a:pt x="172" y="323"/>
                  <a:pt x="155" y="349"/>
                  <a:pt x="161" y="375"/>
                </a:cubicBezTo>
                <a:cubicBezTo>
                  <a:pt x="164" y="387"/>
                  <a:pt x="171" y="398"/>
                  <a:pt x="182" y="405"/>
                </a:cubicBezTo>
                <a:cubicBezTo>
                  <a:pt x="190" y="410"/>
                  <a:pt x="199" y="412"/>
                  <a:pt x="208" y="412"/>
                </a:cubicBezTo>
                <a:cubicBezTo>
                  <a:pt x="212" y="412"/>
                  <a:pt x="215" y="412"/>
                  <a:pt x="218" y="411"/>
                </a:cubicBezTo>
                <a:cubicBezTo>
                  <a:pt x="244" y="406"/>
                  <a:pt x="261" y="380"/>
                  <a:pt x="255" y="354"/>
                </a:cubicBezTo>
                <a:cubicBezTo>
                  <a:pt x="249" y="328"/>
                  <a:pt x="224" y="312"/>
                  <a:pt x="198" y="317"/>
                </a:cubicBezTo>
                <a:close/>
                <a:moveTo>
                  <a:pt x="228" y="377"/>
                </a:moveTo>
                <a:cubicBezTo>
                  <a:pt x="225" y="383"/>
                  <a:pt x="219" y="386"/>
                  <a:pt x="213" y="388"/>
                </a:cubicBezTo>
                <a:cubicBezTo>
                  <a:pt x="207" y="389"/>
                  <a:pt x="201" y="388"/>
                  <a:pt x="195" y="384"/>
                </a:cubicBezTo>
                <a:cubicBezTo>
                  <a:pt x="190" y="381"/>
                  <a:pt x="186" y="376"/>
                  <a:pt x="185" y="369"/>
                </a:cubicBezTo>
                <a:cubicBezTo>
                  <a:pt x="182" y="357"/>
                  <a:pt x="190" y="344"/>
                  <a:pt x="203" y="341"/>
                </a:cubicBezTo>
                <a:cubicBezTo>
                  <a:pt x="209" y="340"/>
                  <a:pt x="216" y="341"/>
                  <a:pt x="221" y="344"/>
                </a:cubicBezTo>
                <a:cubicBezTo>
                  <a:pt x="226" y="348"/>
                  <a:pt x="230" y="353"/>
                  <a:pt x="231" y="359"/>
                </a:cubicBezTo>
                <a:cubicBezTo>
                  <a:pt x="233" y="365"/>
                  <a:pt x="232" y="372"/>
                  <a:pt x="228" y="377"/>
                </a:cubicBezTo>
                <a:close/>
                <a:moveTo>
                  <a:pt x="360" y="370"/>
                </a:moveTo>
                <a:cubicBezTo>
                  <a:pt x="344" y="295"/>
                  <a:pt x="344" y="295"/>
                  <a:pt x="344" y="295"/>
                </a:cubicBezTo>
                <a:cubicBezTo>
                  <a:pt x="306" y="294"/>
                  <a:pt x="306" y="294"/>
                  <a:pt x="306" y="294"/>
                </a:cubicBezTo>
                <a:cubicBezTo>
                  <a:pt x="300" y="287"/>
                  <a:pt x="294" y="280"/>
                  <a:pt x="287" y="274"/>
                </a:cubicBezTo>
                <a:cubicBezTo>
                  <a:pt x="289" y="236"/>
                  <a:pt x="289" y="236"/>
                  <a:pt x="289" y="236"/>
                </a:cubicBezTo>
                <a:cubicBezTo>
                  <a:pt x="216" y="212"/>
                  <a:pt x="216" y="212"/>
                  <a:pt x="216" y="212"/>
                </a:cubicBezTo>
                <a:cubicBezTo>
                  <a:pt x="196" y="245"/>
                  <a:pt x="196" y="245"/>
                  <a:pt x="196" y="245"/>
                </a:cubicBezTo>
                <a:cubicBezTo>
                  <a:pt x="191" y="245"/>
                  <a:pt x="187" y="246"/>
                  <a:pt x="182" y="247"/>
                </a:cubicBezTo>
                <a:cubicBezTo>
                  <a:pt x="178" y="248"/>
                  <a:pt x="174" y="249"/>
                  <a:pt x="169" y="251"/>
                </a:cubicBezTo>
                <a:cubicBezTo>
                  <a:pt x="137" y="230"/>
                  <a:pt x="137" y="230"/>
                  <a:pt x="137" y="230"/>
                </a:cubicBezTo>
                <a:cubicBezTo>
                  <a:pt x="81" y="282"/>
                  <a:pt x="81" y="282"/>
                  <a:pt x="81" y="282"/>
                </a:cubicBezTo>
                <a:cubicBezTo>
                  <a:pt x="99" y="315"/>
                  <a:pt x="99" y="315"/>
                  <a:pt x="99" y="315"/>
                </a:cubicBezTo>
                <a:cubicBezTo>
                  <a:pt x="95" y="324"/>
                  <a:pt x="92" y="333"/>
                  <a:pt x="90" y="341"/>
                </a:cubicBezTo>
                <a:cubicBezTo>
                  <a:pt x="56" y="358"/>
                  <a:pt x="56" y="358"/>
                  <a:pt x="56" y="358"/>
                </a:cubicBezTo>
                <a:cubicBezTo>
                  <a:pt x="73" y="433"/>
                  <a:pt x="73" y="433"/>
                  <a:pt x="73" y="433"/>
                </a:cubicBezTo>
                <a:cubicBezTo>
                  <a:pt x="111" y="434"/>
                  <a:pt x="111" y="434"/>
                  <a:pt x="111" y="434"/>
                </a:cubicBezTo>
                <a:cubicBezTo>
                  <a:pt x="116" y="442"/>
                  <a:pt x="122" y="449"/>
                  <a:pt x="129" y="455"/>
                </a:cubicBezTo>
                <a:cubicBezTo>
                  <a:pt x="127" y="493"/>
                  <a:pt x="127" y="493"/>
                  <a:pt x="127" y="493"/>
                </a:cubicBezTo>
                <a:cubicBezTo>
                  <a:pt x="200" y="516"/>
                  <a:pt x="200" y="516"/>
                  <a:pt x="200" y="516"/>
                </a:cubicBezTo>
                <a:cubicBezTo>
                  <a:pt x="220" y="484"/>
                  <a:pt x="220" y="484"/>
                  <a:pt x="220" y="484"/>
                </a:cubicBezTo>
                <a:cubicBezTo>
                  <a:pt x="225" y="483"/>
                  <a:pt x="230" y="482"/>
                  <a:pt x="234" y="482"/>
                </a:cubicBezTo>
                <a:cubicBezTo>
                  <a:pt x="238" y="481"/>
                  <a:pt x="242" y="479"/>
                  <a:pt x="247" y="478"/>
                </a:cubicBezTo>
                <a:cubicBezTo>
                  <a:pt x="279" y="499"/>
                  <a:pt x="279" y="499"/>
                  <a:pt x="279" y="499"/>
                </a:cubicBezTo>
                <a:cubicBezTo>
                  <a:pt x="336" y="447"/>
                  <a:pt x="336" y="447"/>
                  <a:pt x="336" y="447"/>
                </a:cubicBezTo>
                <a:cubicBezTo>
                  <a:pt x="318" y="413"/>
                  <a:pt x="318" y="413"/>
                  <a:pt x="318" y="413"/>
                </a:cubicBezTo>
                <a:cubicBezTo>
                  <a:pt x="321" y="405"/>
                  <a:pt x="324" y="396"/>
                  <a:pt x="326" y="387"/>
                </a:cubicBezTo>
                <a:lnTo>
                  <a:pt x="360" y="370"/>
                </a:lnTo>
                <a:close/>
                <a:moveTo>
                  <a:pt x="304" y="371"/>
                </a:moveTo>
                <a:cubicBezTo>
                  <a:pt x="302" y="381"/>
                  <a:pt x="302" y="381"/>
                  <a:pt x="302" y="381"/>
                </a:cubicBezTo>
                <a:cubicBezTo>
                  <a:pt x="301" y="389"/>
                  <a:pt x="299" y="397"/>
                  <a:pt x="295" y="405"/>
                </a:cubicBezTo>
                <a:cubicBezTo>
                  <a:pt x="290" y="414"/>
                  <a:pt x="290" y="414"/>
                  <a:pt x="290" y="414"/>
                </a:cubicBezTo>
                <a:cubicBezTo>
                  <a:pt x="305" y="442"/>
                  <a:pt x="305" y="442"/>
                  <a:pt x="305" y="442"/>
                </a:cubicBezTo>
                <a:cubicBezTo>
                  <a:pt x="277" y="468"/>
                  <a:pt x="277" y="468"/>
                  <a:pt x="277" y="468"/>
                </a:cubicBezTo>
                <a:cubicBezTo>
                  <a:pt x="250" y="451"/>
                  <a:pt x="250" y="451"/>
                  <a:pt x="250" y="451"/>
                </a:cubicBezTo>
                <a:cubicBezTo>
                  <a:pt x="240" y="454"/>
                  <a:pt x="240" y="454"/>
                  <a:pt x="240" y="454"/>
                </a:cubicBezTo>
                <a:cubicBezTo>
                  <a:pt x="236" y="456"/>
                  <a:pt x="232" y="457"/>
                  <a:pt x="229" y="458"/>
                </a:cubicBezTo>
                <a:cubicBezTo>
                  <a:pt x="225" y="459"/>
                  <a:pt x="221" y="459"/>
                  <a:pt x="217" y="460"/>
                </a:cubicBezTo>
                <a:cubicBezTo>
                  <a:pt x="206" y="461"/>
                  <a:pt x="206" y="461"/>
                  <a:pt x="206" y="461"/>
                </a:cubicBezTo>
                <a:cubicBezTo>
                  <a:pt x="190" y="487"/>
                  <a:pt x="190" y="487"/>
                  <a:pt x="190" y="487"/>
                </a:cubicBezTo>
                <a:cubicBezTo>
                  <a:pt x="152" y="476"/>
                  <a:pt x="152" y="476"/>
                  <a:pt x="152" y="476"/>
                </a:cubicBezTo>
                <a:cubicBezTo>
                  <a:pt x="154" y="444"/>
                  <a:pt x="154" y="444"/>
                  <a:pt x="154" y="444"/>
                </a:cubicBezTo>
                <a:cubicBezTo>
                  <a:pt x="146" y="437"/>
                  <a:pt x="146" y="437"/>
                  <a:pt x="146" y="437"/>
                </a:cubicBezTo>
                <a:cubicBezTo>
                  <a:pt x="140" y="432"/>
                  <a:pt x="134" y="426"/>
                  <a:pt x="130" y="419"/>
                </a:cubicBezTo>
                <a:cubicBezTo>
                  <a:pt x="124" y="411"/>
                  <a:pt x="124" y="411"/>
                  <a:pt x="124" y="411"/>
                </a:cubicBezTo>
                <a:cubicBezTo>
                  <a:pt x="92" y="410"/>
                  <a:pt x="92" y="410"/>
                  <a:pt x="92" y="410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112" y="358"/>
                  <a:pt x="112" y="358"/>
                  <a:pt x="112" y="358"/>
                </a:cubicBezTo>
                <a:cubicBezTo>
                  <a:pt x="114" y="347"/>
                  <a:pt x="114" y="347"/>
                  <a:pt x="114" y="347"/>
                </a:cubicBezTo>
                <a:cubicBezTo>
                  <a:pt x="115" y="339"/>
                  <a:pt x="118" y="332"/>
                  <a:pt x="121" y="324"/>
                </a:cubicBezTo>
                <a:cubicBezTo>
                  <a:pt x="126" y="314"/>
                  <a:pt x="126" y="314"/>
                  <a:pt x="126" y="314"/>
                </a:cubicBezTo>
                <a:cubicBezTo>
                  <a:pt x="111" y="287"/>
                  <a:pt x="111" y="287"/>
                  <a:pt x="111" y="287"/>
                </a:cubicBezTo>
                <a:cubicBezTo>
                  <a:pt x="140" y="260"/>
                  <a:pt x="140" y="260"/>
                  <a:pt x="140" y="260"/>
                </a:cubicBezTo>
                <a:cubicBezTo>
                  <a:pt x="166" y="278"/>
                  <a:pt x="166" y="278"/>
                  <a:pt x="166" y="278"/>
                </a:cubicBezTo>
                <a:cubicBezTo>
                  <a:pt x="176" y="274"/>
                  <a:pt x="176" y="274"/>
                  <a:pt x="176" y="274"/>
                </a:cubicBezTo>
                <a:cubicBezTo>
                  <a:pt x="180" y="273"/>
                  <a:pt x="184" y="271"/>
                  <a:pt x="188" y="271"/>
                </a:cubicBezTo>
                <a:cubicBezTo>
                  <a:pt x="191" y="270"/>
                  <a:pt x="195" y="269"/>
                  <a:pt x="200" y="269"/>
                </a:cubicBezTo>
                <a:cubicBezTo>
                  <a:pt x="210" y="268"/>
                  <a:pt x="210" y="268"/>
                  <a:pt x="210" y="268"/>
                </a:cubicBezTo>
                <a:cubicBezTo>
                  <a:pt x="227" y="241"/>
                  <a:pt x="227" y="241"/>
                  <a:pt x="227" y="241"/>
                </a:cubicBezTo>
                <a:cubicBezTo>
                  <a:pt x="264" y="253"/>
                  <a:pt x="264" y="253"/>
                  <a:pt x="264" y="253"/>
                </a:cubicBezTo>
                <a:cubicBezTo>
                  <a:pt x="262" y="284"/>
                  <a:pt x="262" y="284"/>
                  <a:pt x="262" y="284"/>
                </a:cubicBezTo>
                <a:cubicBezTo>
                  <a:pt x="270" y="291"/>
                  <a:pt x="270" y="291"/>
                  <a:pt x="270" y="291"/>
                </a:cubicBezTo>
                <a:cubicBezTo>
                  <a:pt x="277" y="297"/>
                  <a:pt x="282" y="303"/>
                  <a:pt x="287" y="309"/>
                </a:cubicBezTo>
                <a:cubicBezTo>
                  <a:pt x="293" y="318"/>
                  <a:pt x="293" y="318"/>
                  <a:pt x="293" y="318"/>
                </a:cubicBezTo>
                <a:cubicBezTo>
                  <a:pt x="324" y="319"/>
                  <a:pt x="324" y="319"/>
                  <a:pt x="324" y="319"/>
                </a:cubicBezTo>
                <a:cubicBezTo>
                  <a:pt x="332" y="357"/>
                  <a:pt x="332" y="357"/>
                  <a:pt x="332" y="357"/>
                </a:cubicBezTo>
                <a:lnTo>
                  <a:pt x="304" y="371"/>
                </a:lnTo>
                <a:close/>
                <a:moveTo>
                  <a:pt x="497" y="170"/>
                </a:moveTo>
                <a:cubicBezTo>
                  <a:pt x="497" y="167"/>
                  <a:pt x="496" y="164"/>
                  <a:pt x="496" y="161"/>
                </a:cubicBezTo>
                <a:cubicBezTo>
                  <a:pt x="495" y="159"/>
                  <a:pt x="494" y="156"/>
                  <a:pt x="493" y="153"/>
                </a:cubicBezTo>
                <a:cubicBezTo>
                  <a:pt x="509" y="130"/>
                  <a:pt x="509" y="130"/>
                  <a:pt x="509" y="130"/>
                </a:cubicBezTo>
                <a:cubicBezTo>
                  <a:pt x="468" y="85"/>
                  <a:pt x="468" y="85"/>
                  <a:pt x="468" y="85"/>
                </a:cubicBezTo>
                <a:cubicBezTo>
                  <a:pt x="444" y="99"/>
                  <a:pt x="444" y="99"/>
                  <a:pt x="444" y="99"/>
                </a:cubicBezTo>
                <a:cubicBezTo>
                  <a:pt x="438" y="97"/>
                  <a:pt x="433" y="95"/>
                  <a:pt x="428" y="94"/>
                </a:cubicBezTo>
                <a:cubicBezTo>
                  <a:pt x="416" y="69"/>
                  <a:pt x="416" y="69"/>
                  <a:pt x="416" y="69"/>
                </a:cubicBezTo>
                <a:cubicBezTo>
                  <a:pt x="356" y="82"/>
                  <a:pt x="356" y="82"/>
                  <a:pt x="356" y="82"/>
                </a:cubicBezTo>
                <a:cubicBezTo>
                  <a:pt x="356" y="110"/>
                  <a:pt x="356" y="110"/>
                  <a:pt x="356" y="110"/>
                </a:cubicBezTo>
                <a:cubicBezTo>
                  <a:pt x="351" y="113"/>
                  <a:pt x="347" y="117"/>
                  <a:pt x="343" y="121"/>
                </a:cubicBezTo>
                <a:cubicBezTo>
                  <a:pt x="315" y="119"/>
                  <a:pt x="315" y="119"/>
                  <a:pt x="315" y="119"/>
                </a:cubicBezTo>
                <a:cubicBezTo>
                  <a:pt x="297" y="177"/>
                  <a:pt x="297" y="177"/>
                  <a:pt x="297" y="177"/>
                </a:cubicBezTo>
                <a:cubicBezTo>
                  <a:pt x="321" y="191"/>
                  <a:pt x="321" y="191"/>
                  <a:pt x="321" y="191"/>
                </a:cubicBezTo>
                <a:cubicBezTo>
                  <a:pt x="321" y="194"/>
                  <a:pt x="322" y="197"/>
                  <a:pt x="322" y="199"/>
                </a:cubicBezTo>
                <a:cubicBezTo>
                  <a:pt x="323" y="202"/>
                  <a:pt x="324" y="205"/>
                  <a:pt x="325" y="208"/>
                </a:cubicBezTo>
                <a:cubicBezTo>
                  <a:pt x="309" y="231"/>
                  <a:pt x="309" y="231"/>
                  <a:pt x="309" y="231"/>
                </a:cubicBezTo>
                <a:cubicBezTo>
                  <a:pt x="350" y="275"/>
                  <a:pt x="350" y="275"/>
                  <a:pt x="350" y="275"/>
                </a:cubicBezTo>
                <a:cubicBezTo>
                  <a:pt x="374" y="262"/>
                  <a:pt x="374" y="262"/>
                  <a:pt x="374" y="262"/>
                </a:cubicBezTo>
                <a:cubicBezTo>
                  <a:pt x="380" y="264"/>
                  <a:pt x="385" y="266"/>
                  <a:pt x="390" y="267"/>
                </a:cubicBezTo>
                <a:cubicBezTo>
                  <a:pt x="403" y="292"/>
                  <a:pt x="403" y="292"/>
                  <a:pt x="403" y="292"/>
                </a:cubicBezTo>
                <a:cubicBezTo>
                  <a:pt x="462" y="279"/>
                  <a:pt x="462" y="279"/>
                  <a:pt x="462" y="279"/>
                </a:cubicBezTo>
                <a:cubicBezTo>
                  <a:pt x="462" y="251"/>
                  <a:pt x="462" y="251"/>
                  <a:pt x="462" y="251"/>
                </a:cubicBezTo>
                <a:cubicBezTo>
                  <a:pt x="467" y="248"/>
                  <a:pt x="471" y="244"/>
                  <a:pt x="475" y="240"/>
                </a:cubicBezTo>
                <a:cubicBezTo>
                  <a:pt x="503" y="242"/>
                  <a:pt x="503" y="242"/>
                  <a:pt x="503" y="242"/>
                </a:cubicBezTo>
                <a:cubicBezTo>
                  <a:pt x="521" y="184"/>
                  <a:pt x="521" y="184"/>
                  <a:pt x="521" y="184"/>
                </a:cubicBezTo>
                <a:lnTo>
                  <a:pt x="497" y="170"/>
                </a:lnTo>
                <a:close/>
                <a:moveTo>
                  <a:pt x="352" y="211"/>
                </a:moveTo>
                <a:cubicBezTo>
                  <a:pt x="349" y="202"/>
                  <a:pt x="349" y="202"/>
                  <a:pt x="349" y="202"/>
                </a:cubicBezTo>
                <a:cubicBezTo>
                  <a:pt x="348" y="199"/>
                  <a:pt x="347" y="197"/>
                  <a:pt x="346" y="194"/>
                </a:cubicBezTo>
                <a:cubicBezTo>
                  <a:pt x="346" y="192"/>
                  <a:pt x="346" y="189"/>
                  <a:pt x="345" y="186"/>
                </a:cubicBezTo>
                <a:cubicBezTo>
                  <a:pt x="344" y="177"/>
                  <a:pt x="344" y="177"/>
                  <a:pt x="344" y="177"/>
                </a:cubicBezTo>
                <a:cubicBezTo>
                  <a:pt x="326" y="166"/>
                  <a:pt x="326" y="166"/>
                  <a:pt x="326" y="166"/>
                </a:cubicBezTo>
                <a:cubicBezTo>
                  <a:pt x="333" y="145"/>
                  <a:pt x="333" y="145"/>
                  <a:pt x="333" y="145"/>
                </a:cubicBezTo>
                <a:cubicBezTo>
                  <a:pt x="354" y="146"/>
                  <a:pt x="354" y="146"/>
                  <a:pt x="354" y="146"/>
                </a:cubicBezTo>
                <a:cubicBezTo>
                  <a:pt x="360" y="139"/>
                  <a:pt x="360" y="139"/>
                  <a:pt x="360" y="139"/>
                </a:cubicBezTo>
                <a:cubicBezTo>
                  <a:pt x="364" y="135"/>
                  <a:pt x="368" y="131"/>
                  <a:pt x="372" y="128"/>
                </a:cubicBezTo>
                <a:cubicBezTo>
                  <a:pt x="380" y="123"/>
                  <a:pt x="380" y="123"/>
                  <a:pt x="380" y="123"/>
                </a:cubicBezTo>
                <a:cubicBezTo>
                  <a:pt x="381" y="102"/>
                  <a:pt x="381" y="102"/>
                  <a:pt x="381" y="102"/>
                </a:cubicBezTo>
                <a:cubicBezTo>
                  <a:pt x="402" y="97"/>
                  <a:pt x="402" y="97"/>
                  <a:pt x="402" y="97"/>
                </a:cubicBezTo>
                <a:cubicBezTo>
                  <a:pt x="411" y="116"/>
                  <a:pt x="411" y="116"/>
                  <a:pt x="411" y="116"/>
                </a:cubicBezTo>
                <a:cubicBezTo>
                  <a:pt x="420" y="117"/>
                  <a:pt x="420" y="117"/>
                  <a:pt x="420" y="117"/>
                </a:cubicBezTo>
                <a:cubicBezTo>
                  <a:pt x="426" y="118"/>
                  <a:pt x="431" y="120"/>
                  <a:pt x="436" y="123"/>
                </a:cubicBezTo>
                <a:cubicBezTo>
                  <a:pt x="444" y="126"/>
                  <a:pt x="444" y="126"/>
                  <a:pt x="444" y="12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78" y="132"/>
                  <a:pt x="478" y="132"/>
                  <a:pt x="478" y="132"/>
                </a:cubicBezTo>
                <a:cubicBezTo>
                  <a:pt x="466" y="150"/>
                  <a:pt x="466" y="150"/>
                  <a:pt x="466" y="150"/>
                </a:cubicBezTo>
                <a:cubicBezTo>
                  <a:pt x="469" y="159"/>
                  <a:pt x="469" y="159"/>
                  <a:pt x="469" y="159"/>
                </a:cubicBezTo>
                <a:cubicBezTo>
                  <a:pt x="470" y="162"/>
                  <a:pt x="471" y="164"/>
                  <a:pt x="472" y="167"/>
                </a:cubicBezTo>
                <a:cubicBezTo>
                  <a:pt x="472" y="169"/>
                  <a:pt x="472" y="172"/>
                  <a:pt x="473" y="175"/>
                </a:cubicBezTo>
                <a:cubicBezTo>
                  <a:pt x="474" y="184"/>
                  <a:pt x="474" y="184"/>
                  <a:pt x="474" y="184"/>
                </a:cubicBezTo>
                <a:cubicBezTo>
                  <a:pt x="492" y="195"/>
                  <a:pt x="492" y="195"/>
                  <a:pt x="492" y="195"/>
                </a:cubicBezTo>
                <a:cubicBezTo>
                  <a:pt x="485" y="216"/>
                  <a:pt x="485" y="216"/>
                  <a:pt x="485" y="216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58" y="222"/>
                  <a:pt x="458" y="222"/>
                  <a:pt x="458" y="222"/>
                </a:cubicBezTo>
                <a:cubicBezTo>
                  <a:pt x="454" y="226"/>
                  <a:pt x="450" y="230"/>
                  <a:pt x="446" y="233"/>
                </a:cubicBezTo>
                <a:cubicBezTo>
                  <a:pt x="438" y="238"/>
                  <a:pt x="438" y="238"/>
                  <a:pt x="438" y="238"/>
                </a:cubicBezTo>
                <a:cubicBezTo>
                  <a:pt x="437" y="259"/>
                  <a:pt x="437" y="259"/>
                  <a:pt x="437" y="259"/>
                </a:cubicBezTo>
                <a:cubicBezTo>
                  <a:pt x="416" y="264"/>
                  <a:pt x="416" y="264"/>
                  <a:pt x="416" y="264"/>
                </a:cubicBezTo>
                <a:cubicBezTo>
                  <a:pt x="407" y="245"/>
                  <a:pt x="407" y="245"/>
                  <a:pt x="407" y="245"/>
                </a:cubicBezTo>
                <a:cubicBezTo>
                  <a:pt x="398" y="243"/>
                  <a:pt x="398" y="243"/>
                  <a:pt x="398" y="243"/>
                </a:cubicBezTo>
                <a:cubicBezTo>
                  <a:pt x="392" y="243"/>
                  <a:pt x="387" y="241"/>
                  <a:pt x="382" y="238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55" y="245"/>
                  <a:pt x="355" y="245"/>
                  <a:pt x="355" y="245"/>
                </a:cubicBezTo>
                <a:cubicBezTo>
                  <a:pt x="340" y="229"/>
                  <a:pt x="340" y="229"/>
                  <a:pt x="340" y="229"/>
                </a:cubicBezTo>
                <a:lnTo>
                  <a:pt x="352" y="211"/>
                </a:lnTo>
                <a:close/>
                <a:moveTo>
                  <a:pt x="389" y="212"/>
                </a:moveTo>
                <a:cubicBezTo>
                  <a:pt x="395" y="216"/>
                  <a:pt x="402" y="218"/>
                  <a:pt x="409" y="218"/>
                </a:cubicBezTo>
                <a:cubicBezTo>
                  <a:pt x="412" y="218"/>
                  <a:pt x="414" y="218"/>
                  <a:pt x="417" y="217"/>
                </a:cubicBezTo>
                <a:cubicBezTo>
                  <a:pt x="437" y="213"/>
                  <a:pt x="450" y="193"/>
                  <a:pt x="446" y="172"/>
                </a:cubicBezTo>
                <a:cubicBezTo>
                  <a:pt x="446" y="172"/>
                  <a:pt x="446" y="172"/>
                  <a:pt x="446" y="172"/>
                </a:cubicBezTo>
                <a:cubicBezTo>
                  <a:pt x="441" y="152"/>
                  <a:pt x="421" y="139"/>
                  <a:pt x="401" y="144"/>
                </a:cubicBezTo>
                <a:cubicBezTo>
                  <a:pt x="391" y="146"/>
                  <a:pt x="383" y="152"/>
                  <a:pt x="377" y="160"/>
                </a:cubicBezTo>
                <a:cubicBezTo>
                  <a:pt x="372" y="169"/>
                  <a:pt x="370" y="179"/>
                  <a:pt x="372" y="189"/>
                </a:cubicBezTo>
                <a:cubicBezTo>
                  <a:pt x="374" y="198"/>
                  <a:pt x="380" y="207"/>
                  <a:pt x="389" y="212"/>
                </a:cubicBezTo>
                <a:close/>
                <a:moveTo>
                  <a:pt x="398" y="173"/>
                </a:moveTo>
                <a:cubicBezTo>
                  <a:pt x="400" y="170"/>
                  <a:pt x="403" y="168"/>
                  <a:pt x="406" y="168"/>
                </a:cubicBezTo>
                <a:cubicBezTo>
                  <a:pt x="407" y="167"/>
                  <a:pt x="408" y="167"/>
                  <a:pt x="409" y="167"/>
                </a:cubicBezTo>
                <a:cubicBezTo>
                  <a:pt x="415" y="167"/>
                  <a:pt x="420" y="172"/>
                  <a:pt x="422" y="178"/>
                </a:cubicBezTo>
                <a:cubicBezTo>
                  <a:pt x="423" y="181"/>
                  <a:pt x="422" y="185"/>
                  <a:pt x="420" y="188"/>
                </a:cubicBezTo>
                <a:cubicBezTo>
                  <a:pt x="418" y="190"/>
                  <a:pt x="415" y="193"/>
                  <a:pt x="412" y="193"/>
                </a:cubicBezTo>
                <a:cubicBezTo>
                  <a:pt x="405" y="195"/>
                  <a:pt x="398" y="190"/>
                  <a:pt x="396" y="183"/>
                </a:cubicBezTo>
                <a:cubicBezTo>
                  <a:pt x="395" y="180"/>
                  <a:pt x="396" y="176"/>
                  <a:pt x="398" y="173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7" name="Google Shape;5378;p388">
            <a:extLst>
              <a:ext uri="{FF2B5EF4-FFF2-40B4-BE49-F238E27FC236}">
                <a16:creationId xmlns:a16="http://schemas.microsoft.com/office/drawing/2014/main" id="{B2962E18-EF41-42FA-B171-249D8D0BA264}"/>
              </a:ext>
            </a:extLst>
          </p:cNvPr>
          <p:cNvSpPr/>
          <p:nvPr/>
        </p:nvSpPr>
        <p:spPr>
          <a:xfrm>
            <a:off x="8358136" y="2325903"/>
            <a:ext cx="374904" cy="374904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67" tIns="34267" rIns="68567" bIns="34267" anchor="t" anchorCtr="0">
            <a:noAutofit/>
          </a:bodyPr>
          <a:lstStyle/>
          <a:p>
            <a:endParaRPr sz="120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48" name="Google Shape;7658;p418">
            <a:extLst>
              <a:ext uri="{FF2B5EF4-FFF2-40B4-BE49-F238E27FC236}">
                <a16:creationId xmlns:a16="http://schemas.microsoft.com/office/drawing/2014/main" id="{C0414B3B-40EE-4764-AB9F-E033F2BEEFB6}"/>
              </a:ext>
            </a:extLst>
          </p:cNvPr>
          <p:cNvSpPr txBox="1"/>
          <p:nvPr/>
        </p:nvSpPr>
        <p:spPr>
          <a:xfrm>
            <a:off x="322993" y="1121367"/>
            <a:ext cx="2160000" cy="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b="1" dirty="0">
                <a:latin typeface="Georgia" panose="02040502050405020303" pitchFamily="18" charset="0"/>
              </a:rPr>
              <a:t>Key Considerations</a:t>
            </a:r>
            <a:endParaRPr b="1" dirty="0">
              <a:latin typeface="Georgia" panose="02040502050405020303" pitchFamily="18" charset="0"/>
            </a:endParaRPr>
          </a:p>
        </p:txBody>
      </p:sp>
      <p:sp>
        <p:nvSpPr>
          <p:cNvPr id="449" name="Google Shape;7658;p418">
            <a:extLst>
              <a:ext uri="{FF2B5EF4-FFF2-40B4-BE49-F238E27FC236}">
                <a16:creationId xmlns:a16="http://schemas.microsoft.com/office/drawing/2014/main" id="{24E26515-EDA6-440C-BAAC-F4B15ECC4020}"/>
              </a:ext>
            </a:extLst>
          </p:cNvPr>
          <p:cNvSpPr txBox="1"/>
          <p:nvPr/>
        </p:nvSpPr>
        <p:spPr>
          <a:xfrm>
            <a:off x="322993" y="3516026"/>
            <a:ext cx="3528000" cy="2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b="1" dirty="0">
                <a:latin typeface="Georgia" panose="02040502050405020303" pitchFamily="18" charset="0"/>
              </a:rPr>
              <a:t>Scalable to Growth of the Startup</a:t>
            </a:r>
            <a:endParaRPr b="1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829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22aaf9e968d_4_293"/>
          <p:cNvSpPr txBox="1">
            <a:spLocks noGrp="1"/>
          </p:cNvSpPr>
          <p:nvPr>
            <p:ph type="title"/>
          </p:nvPr>
        </p:nvSpPr>
        <p:spPr>
          <a:xfrm>
            <a:off x="442950" y="388636"/>
            <a:ext cx="11306100" cy="49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SzPts val="1100"/>
            </a:pPr>
            <a:r>
              <a:rPr lang="en-IN" sz="2400" dirty="0"/>
              <a:t>Indicative Governance roadmap</a:t>
            </a:r>
            <a:endParaRPr sz="2400" dirty="0"/>
          </a:p>
        </p:txBody>
      </p:sp>
      <p:cxnSp>
        <p:nvCxnSpPr>
          <p:cNvPr id="50" name="Google Shape;1068;p136">
            <a:extLst>
              <a:ext uri="{FF2B5EF4-FFF2-40B4-BE49-F238E27FC236}">
                <a16:creationId xmlns:a16="http://schemas.microsoft.com/office/drawing/2014/main" id="{1CD98BC7-3795-4FCD-8E62-482B6A87D2DD}"/>
              </a:ext>
            </a:extLst>
          </p:cNvPr>
          <p:cNvCxnSpPr/>
          <p:nvPr/>
        </p:nvCxnSpPr>
        <p:spPr>
          <a:xfrm>
            <a:off x="581178" y="896089"/>
            <a:ext cx="0" cy="5400000"/>
          </a:xfrm>
          <a:prstGeom prst="straightConnector1">
            <a:avLst/>
          </a:prstGeom>
          <a:noFill/>
          <a:ln w="12700" cap="flat" cmpd="sng">
            <a:solidFill>
              <a:srgbClr val="7D7D7D"/>
            </a:solidFill>
            <a:prstDash val="solid"/>
            <a:round/>
            <a:headEnd type="triangle" w="med" len="med"/>
            <a:tailEnd type="none" w="sm" len="sm"/>
          </a:ln>
        </p:spPr>
      </p:cxnSp>
      <p:cxnSp>
        <p:nvCxnSpPr>
          <p:cNvPr id="51" name="Google Shape;1069;p136">
            <a:extLst>
              <a:ext uri="{FF2B5EF4-FFF2-40B4-BE49-F238E27FC236}">
                <a16:creationId xmlns:a16="http://schemas.microsoft.com/office/drawing/2014/main" id="{B2824721-0C37-4B2B-BF1B-200AA1587D03}"/>
              </a:ext>
            </a:extLst>
          </p:cNvPr>
          <p:cNvCxnSpPr/>
          <p:nvPr/>
        </p:nvCxnSpPr>
        <p:spPr>
          <a:xfrm>
            <a:off x="577512" y="6287280"/>
            <a:ext cx="11320500" cy="0"/>
          </a:xfrm>
          <a:prstGeom prst="straightConnector1">
            <a:avLst/>
          </a:prstGeom>
          <a:noFill/>
          <a:ln w="12700" cap="flat" cmpd="sng">
            <a:solidFill>
              <a:srgbClr val="7D7D7D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52" name="Google Shape;1070;p136">
            <a:extLst>
              <a:ext uri="{FF2B5EF4-FFF2-40B4-BE49-F238E27FC236}">
                <a16:creationId xmlns:a16="http://schemas.microsoft.com/office/drawing/2014/main" id="{544FCB88-7E4D-4417-805C-D0CA5F9DA3CD}"/>
              </a:ext>
            </a:extLst>
          </p:cNvPr>
          <p:cNvSpPr/>
          <p:nvPr/>
        </p:nvSpPr>
        <p:spPr>
          <a:xfrm>
            <a:off x="659610" y="4742123"/>
            <a:ext cx="2149500" cy="11349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72000" tIns="36000" rIns="36000" bIns="36000" anchor="t" anchorCtr="0">
            <a:noAutofit/>
          </a:bodyPr>
          <a:lstStyle/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b="0" i="0" u="none" strike="noStrike" cap="none" dirty="0">
                <a:solidFill>
                  <a:schemeClr val="bg1"/>
                </a:solidFill>
                <a:latin typeface="Georgia" panose="02040502050405020303" pitchFamily="18" charset="0"/>
                <a:sym typeface="Arial"/>
              </a:rPr>
              <a:t>Nature of entity</a:t>
            </a:r>
          </a:p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Regulatory/legal compliances</a:t>
            </a:r>
          </a:p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b="0" i="0" u="none" strike="noStrike" cap="none" dirty="0">
                <a:solidFill>
                  <a:schemeClr val="bg1"/>
                </a:solidFill>
                <a:latin typeface="Georgia" panose="02040502050405020303" pitchFamily="18" charset="0"/>
                <a:sym typeface="Arial"/>
              </a:rPr>
              <a:t>R&amp;R, compensation of </a:t>
            </a: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partners, define future equity interests</a:t>
            </a:r>
          </a:p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b="0" i="0" u="none" strike="noStrike" cap="none" dirty="0">
                <a:solidFill>
                  <a:schemeClr val="bg1"/>
                </a:solidFill>
                <a:latin typeface="Georgia" panose="02040502050405020303" pitchFamily="18" charset="0"/>
                <a:sym typeface="Arial"/>
              </a:rPr>
              <a:t>Ownership of IP</a:t>
            </a:r>
          </a:p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b="0" i="0" u="none" strike="noStrike" cap="none" dirty="0">
                <a:solidFill>
                  <a:schemeClr val="bg1"/>
                </a:solidFill>
                <a:latin typeface="Georgia" panose="02040502050405020303" pitchFamily="18" charset="0"/>
                <a:sym typeface="Arial"/>
              </a:rPr>
              <a:t>Internal financial controls</a:t>
            </a:r>
          </a:p>
          <a:p>
            <a:pPr marL="85725" marR="0" lvl="0" indent="-8572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chemeClr val="bg1"/>
                </a:solidFill>
                <a:latin typeface="Georgia" panose="02040502050405020303" pitchFamily="18" charset="0"/>
              </a:rPr>
              <a:t>Independent oversight</a:t>
            </a:r>
            <a:endParaRPr sz="1000" b="0" i="0" u="none" strike="noStrike" cap="none" dirty="0">
              <a:solidFill>
                <a:schemeClr val="bg1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58" name="Google Shape;1076;p136">
            <a:extLst>
              <a:ext uri="{FF2B5EF4-FFF2-40B4-BE49-F238E27FC236}">
                <a16:creationId xmlns:a16="http://schemas.microsoft.com/office/drawing/2014/main" id="{C70BACF4-E8B0-4570-8D3E-FB8D868EE334}"/>
              </a:ext>
            </a:extLst>
          </p:cNvPr>
          <p:cNvSpPr/>
          <p:nvPr/>
        </p:nvSpPr>
        <p:spPr>
          <a:xfrm>
            <a:off x="2868054" y="3891519"/>
            <a:ext cx="2147700" cy="198555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72000" tIns="36000" rIns="36000" bIns="36000" anchor="t" anchorCtr="0">
            <a:noAutofit/>
          </a:bodyPr>
          <a:lstStyle/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egistration of intellectual property, trademarks</a:t>
            </a:r>
            <a:endParaRPr lang="en-GB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Appoint a head of finance function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Establish chart of authority with segregation of duties and maker-checker control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Employee and third-party code of conduct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Agree on norms for dilution of founder’s equity interest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ulebook for related party transactions</a:t>
            </a:r>
            <a:endParaRPr lang="en-GB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64" name="Google Shape;1082;p136">
            <a:extLst>
              <a:ext uri="{FF2B5EF4-FFF2-40B4-BE49-F238E27FC236}">
                <a16:creationId xmlns:a16="http://schemas.microsoft.com/office/drawing/2014/main" id="{A265DE26-BEE2-4008-8174-18951C9DCF0C}"/>
              </a:ext>
            </a:extLst>
          </p:cNvPr>
          <p:cNvGrpSpPr/>
          <p:nvPr/>
        </p:nvGrpSpPr>
        <p:grpSpPr>
          <a:xfrm>
            <a:off x="659618" y="5906366"/>
            <a:ext cx="1726865" cy="297878"/>
            <a:chOff x="510731" y="5791285"/>
            <a:chExt cx="1726865" cy="297878"/>
          </a:xfrm>
        </p:grpSpPr>
        <p:sp>
          <p:nvSpPr>
            <p:cNvPr id="65" name="Google Shape;1083;p136">
              <a:extLst>
                <a:ext uri="{FF2B5EF4-FFF2-40B4-BE49-F238E27FC236}">
                  <a16:creationId xmlns:a16="http://schemas.microsoft.com/office/drawing/2014/main" id="{BBF94735-5096-4390-A73B-841221410714}"/>
                </a:ext>
              </a:extLst>
            </p:cNvPr>
            <p:cNvSpPr/>
            <p:nvPr/>
          </p:nvSpPr>
          <p:spPr>
            <a:xfrm>
              <a:off x="821596" y="5826224"/>
              <a:ext cx="1416000" cy="22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000" b="1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sym typeface="Arial"/>
                </a:rPr>
                <a:t>1. Ideation</a:t>
              </a: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66" name="Google Shape;1084;p136">
              <a:extLst>
                <a:ext uri="{FF2B5EF4-FFF2-40B4-BE49-F238E27FC236}">
                  <a16:creationId xmlns:a16="http://schemas.microsoft.com/office/drawing/2014/main" id="{B2789B83-E0D6-4814-89EC-A91043D962F0}"/>
                </a:ext>
              </a:extLst>
            </p:cNvPr>
            <p:cNvSpPr/>
            <p:nvPr/>
          </p:nvSpPr>
          <p:spPr>
            <a:xfrm>
              <a:off x="510731" y="5791285"/>
              <a:ext cx="297878" cy="297878"/>
            </a:xfrm>
            <a:custGeom>
              <a:avLst/>
              <a:gdLst/>
              <a:ahLst/>
              <a:cxnLst/>
              <a:rect l="l" t="t" r="r" b="b"/>
              <a:pathLst>
                <a:path w="2322" h="2322" extrusionOk="0">
                  <a:moveTo>
                    <a:pt x="1162" y="452"/>
                  </a:moveTo>
                  <a:cubicBezTo>
                    <a:pt x="1130" y="452"/>
                    <a:pt x="1098" y="468"/>
                    <a:pt x="1082" y="497"/>
                  </a:cubicBezTo>
                  <a:cubicBezTo>
                    <a:pt x="395" y="1700"/>
                    <a:pt x="395" y="1700"/>
                    <a:pt x="395" y="1700"/>
                  </a:cubicBezTo>
                  <a:cubicBezTo>
                    <a:pt x="359" y="1761"/>
                    <a:pt x="403" y="1838"/>
                    <a:pt x="476" y="1838"/>
                  </a:cubicBezTo>
                  <a:cubicBezTo>
                    <a:pt x="1849" y="1838"/>
                    <a:pt x="1849" y="1838"/>
                    <a:pt x="1849" y="1838"/>
                  </a:cubicBezTo>
                  <a:cubicBezTo>
                    <a:pt x="1921" y="1838"/>
                    <a:pt x="1966" y="1761"/>
                    <a:pt x="1930" y="1700"/>
                  </a:cubicBezTo>
                  <a:cubicBezTo>
                    <a:pt x="1243" y="497"/>
                    <a:pt x="1243" y="497"/>
                    <a:pt x="1243" y="497"/>
                  </a:cubicBezTo>
                  <a:cubicBezTo>
                    <a:pt x="1227" y="468"/>
                    <a:pt x="1195" y="452"/>
                    <a:pt x="1162" y="452"/>
                  </a:cubicBezTo>
                  <a:close/>
                  <a:moveTo>
                    <a:pt x="484" y="1740"/>
                  </a:moveTo>
                  <a:cubicBezTo>
                    <a:pt x="1162" y="554"/>
                    <a:pt x="1162" y="554"/>
                    <a:pt x="1162" y="554"/>
                  </a:cubicBezTo>
                  <a:cubicBezTo>
                    <a:pt x="1841" y="1740"/>
                    <a:pt x="1841" y="1740"/>
                    <a:pt x="1841" y="1740"/>
                  </a:cubicBezTo>
                  <a:cubicBezTo>
                    <a:pt x="484" y="1740"/>
                    <a:pt x="484" y="1740"/>
                    <a:pt x="484" y="1740"/>
                  </a:cubicBezTo>
                  <a:cubicBezTo>
                    <a:pt x="484" y="1740"/>
                    <a:pt x="484" y="1740"/>
                    <a:pt x="484" y="1740"/>
                  </a:cubicBezTo>
                  <a:close/>
                  <a:moveTo>
                    <a:pt x="1114" y="953"/>
                  </a:moveTo>
                  <a:cubicBezTo>
                    <a:pt x="1114" y="1361"/>
                    <a:pt x="1114" y="1361"/>
                    <a:pt x="1114" y="1361"/>
                  </a:cubicBezTo>
                  <a:cubicBezTo>
                    <a:pt x="1211" y="1361"/>
                    <a:pt x="1211" y="1361"/>
                    <a:pt x="1211" y="1361"/>
                  </a:cubicBezTo>
                  <a:cubicBezTo>
                    <a:pt x="1211" y="953"/>
                    <a:pt x="1211" y="953"/>
                    <a:pt x="1211" y="953"/>
                  </a:cubicBezTo>
                  <a:cubicBezTo>
                    <a:pt x="1114" y="953"/>
                    <a:pt x="1114" y="953"/>
                    <a:pt x="1114" y="953"/>
                  </a:cubicBezTo>
                  <a:cubicBezTo>
                    <a:pt x="1114" y="953"/>
                    <a:pt x="1114" y="953"/>
                    <a:pt x="1114" y="953"/>
                  </a:cubicBezTo>
                  <a:close/>
                  <a:moveTo>
                    <a:pt x="1090" y="1536"/>
                  </a:moveTo>
                  <a:cubicBezTo>
                    <a:pt x="1090" y="1577"/>
                    <a:pt x="1122" y="1610"/>
                    <a:pt x="1162" y="1610"/>
                  </a:cubicBezTo>
                  <a:cubicBezTo>
                    <a:pt x="1203" y="1610"/>
                    <a:pt x="1235" y="1577"/>
                    <a:pt x="1235" y="1536"/>
                  </a:cubicBezTo>
                  <a:cubicBezTo>
                    <a:pt x="1235" y="1496"/>
                    <a:pt x="1203" y="1463"/>
                    <a:pt x="1162" y="1463"/>
                  </a:cubicBezTo>
                  <a:cubicBezTo>
                    <a:pt x="1122" y="1463"/>
                    <a:pt x="1090" y="1496"/>
                    <a:pt x="1090" y="1536"/>
                  </a:cubicBezTo>
                  <a:close/>
                  <a:moveTo>
                    <a:pt x="0" y="0"/>
                  </a:moveTo>
                  <a:cubicBezTo>
                    <a:pt x="0" y="2322"/>
                    <a:pt x="0" y="2322"/>
                    <a:pt x="0" y="2322"/>
                  </a:cubicBezTo>
                  <a:cubicBezTo>
                    <a:pt x="2322" y="2322"/>
                    <a:pt x="2322" y="2322"/>
                    <a:pt x="2322" y="2322"/>
                  </a:cubicBezTo>
                  <a:cubicBezTo>
                    <a:pt x="2322" y="0"/>
                    <a:pt x="2322" y="0"/>
                    <a:pt x="23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203" y="2231"/>
                  </a:moveTo>
                  <a:cubicBezTo>
                    <a:pt x="89" y="2231"/>
                    <a:pt x="89" y="2231"/>
                    <a:pt x="89" y="223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2203" y="91"/>
                    <a:pt x="2203" y="91"/>
                    <a:pt x="2203" y="91"/>
                  </a:cubicBezTo>
                  <a:cubicBezTo>
                    <a:pt x="2203" y="2231"/>
                    <a:pt x="2203" y="2231"/>
                    <a:pt x="2203" y="2231"/>
                  </a:cubicBezTo>
                  <a:cubicBezTo>
                    <a:pt x="2203" y="2231"/>
                    <a:pt x="2203" y="2231"/>
                    <a:pt x="2203" y="2231"/>
                  </a:cubicBezTo>
                  <a:close/>
                </a:path>
              </a:pathLst>
            </a:custGeom>
            <a:solidFill>
              <a:srgbClr val="EB8C00"/>
            </a:solidFill>
            <a:ln>
              <a:noFill/>
            </a:ln>
          </p:spPr>
          <p:txBody>
            <a:bodyPr spcFirstLastPara="1" wrap="square" lIns="94800" tIns="47375" rIns="94800" bIns="473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grpSp>
        <p:nvGrpSpPr>
          <p:cNvPr id="67" name="Google Shape;1085;p136">
            <a:extLst>
              <a:ext uri="{FF2B5EF4-FFF2-40B4-BE49-F238E27FC236}">
                <a16:creationId xmlns:a16="http://schemas.microsoft.com/office/drawing/2014/main" id="{9DBCDBCD-83CF-409B-ABDB-6AD6F85E3596}"/>
              </a:ext>
            </a:extLst>
          </p:cNvPr>
          <p:cNvGrpSpPr/>
          <p:nvPr/>
        </p:nvGrpSpPr>
        <p:grpSpPr>
          <a:xfrm>
            <a:off x="2895529" y="5906365"/>
            <a:ext cx="1682652" cy="297878"/>
            <a:chOff x="2719177" y="5791285"/>
            <a:chExt cx="1682652" cy="297878"/>
          </a:xfrm>
        </p:grpSpPr>
        <p:sp>
          <p:nvSpPr>
            <p:cNvPr id="68" name="Google Shape;1086;p136">
              <a:extLst>
                <a:ext uri="{FF2B5EF4-FFF2-40B4-BE49-F238E27FC236}">
                  <a16:creationId xmlns:a16="http://schemas.microsoft.com/office/drawing/2014/main" id="{BC37BBCD-1DA0-4E94-A64E-DBC8382563F5}"/>
                </a:ext>
              </a:extLst>
            </p:cNvPr>
            <p:cNvSpPr/>
            <p:nvPr/>
          </p:nvSpPr>
          <p:spPr>
            <a:xfrm>
              <a:off x="3070129" y="5826224"/>
              <a:ext cx="1331700" cy="22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000" b="1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sym typeface="Arial"/>
                </a:rPr>
                <a:t>2. </a:t>
              </a:r>
              <a:r>
                <a:rPr lang="en-GB" sz="1000" b="1" dirty="0">
                  <a:latin typeface="Georgia" panose="02040502050405020303" pitchFamily="18" charset="0"/>
                </a:rPr>
                <a:t>Initial</a:t>
              </a: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69" name="Google Shape;1087;p136">
              <a:extLst>
                <a:ext uri="{FF2B5EF4-FFF2-40B4-BE49-F238E27FC236}">
                  <a16:creationId xmlns:a16="http://schemas.microsoft.com/office/drawing/2014/main" id="{FC1362FE-F82C-428B-A90B-AF1A66C93447}"/>
                </a:ext>
              </a:extLst>
            </p:cNvPr>
            <p:cNvSpPr/>
            <p:nvPr/>
          </p:nvSpPr>
          <p:spPr>
            <a:xfrm>
              <a:off x="2719177" y="5791285"/>
              <a:ext cx="297879" cy="297878"/>
            </a:xfrm>
            <a:custGeom>
              <a:avLst/>
              <a:gdLst/>
              <a:ahLst/>
              <a:cxnLst/>
              <a:rect l="l" t="t" r="r" b="b"/>
              <a:pathLst>
                <a:path w="346" h="346" extrusionOk="0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54" y="346"/>
                    <a:pt x="54" y="346"/>
                    <a:pt x="54" y="346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8" y="255"/>
                    <a:pt x="78" y="245"/>
                    <a:pt x="91" y="241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23"/>
                    <a:pt x="144" y="223"/>
                    <a:pt x="145" y="224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5" y="234"/>
                    <a:pt x="164" y="238"/>
                    <a:pt x="173" y="238"/>
                  </a:cubicBezTo>
                  <a:cubicBezTo>
                    <a:pt x="182" y="238"/>
                    <a:pt x="191" y="234"/>
                    <a:pt x="197" y="228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202" y="223"/>
                    <a:pt x="202" y="223"/>
                    <a:pt x="203" y="223"/>
                  </a:cubicBezTo>
                  <a:cubicBezTo>
                    <a:pt x="255" y="241"/>
                    <a:pt x="255" y="241"/>
                    <a:pt x="255" y="241"/>
                  </a:cubicBezTo>
                  <a:cubicBezTo>
                    <a:pt x="267" y="245"/>
                    <a:pt x="278" y="255"/>
                    <a:pt x="282" y="268"/>
                  </a:cubicBezTo>
                  <a:cubicBezTo>
                    <a:pt x="292" y="346"/>
                    <a:pt x="292" y="346"/>
                    <a:pt x="292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331" y="331"/>
                  </a:moveTo>
                  <a:cubicBezTo>
                    <a:pt x="305" y="331"/>
                    <a:pt x="305" y="331"/>
                    <a:pt x="305" y="331"/>
                  </a:cubicBezTo>
                  <a:cubicBezTo>
                    <a:pt x="296" y="266"/>
                    <a:pt x="296" y="266"/>
                    <a:pt x="296" y="266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1" y="247"/>
                    <a:pt x="277" y="233"/>
                    <a:pt x="259" y="227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02" y="207"/>
                    <a:pt x="195" y="209"/>
                    <a:pt x="190" y="213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3" y="221"/>
                    <a:pt x="178" y="223"/>
                    <a:pt x="173" y="223"/>
                  </a:cubicBezTo>
                  <a:cubicBezTo>
                    <a:pt x="168" y="223"/>
                    <a:pt x="163" y="221"/>
                    <a:pt x="159" y="217"/>
                  </a:cubicBezTo>
                  <a:cubicBezTo>
                    <a:pt x="155" y="213"/>
                    <a:pt x="155" y="213"/>
                    <a:pt x="155" y="213"/>
                  </a:cubicBezTo>
                  <a:cubicBezTo>
                    <a:pt x="151" y="209"/>
                    <a:pt x="144" y="207"/>
                    <a:pt x="138" y="209"/>
                  </a:cubicBezTo>
                  <a:cubicBezTo>
                    <a:pt x="86" y="227"/>
                    <a:pt x="86" y="227"/>
                    <a:pt x="86" y="227"/>
                  </a:cubicBezTo>
                  <a:cubicBezTo>
                    <a:pt x="69" y="233"/>
                    <a:pt x="55" y="247"/>
                    <a:pt x="49" y="264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lnTo>
                    <a:pt x="331" y="331"/>
                  </a:lnTo>
                  <a:close/>
                  <a:moveTo>
                    <a:pt x="173" y="201"/>
                  </a:moveTo>
                  <a:cubicBezTo>
                    <a:pt x="187" y="201"/>
                    <a:pt x="195" y="193"/>
                    <a:pt x="204" y="184"/>
                  </a:cubicBezTo>
                  <a:cubicBezTo>
                    <a:pt x="214" y="172"/>
                    <a:pt x="220" y="152"/>
                    <a:pt x="220" y="124"/>
                  </a:cubicBezTo>
                  <a:cubicBezTo>
                    <a:pt x="220" y="96"/>
                    <a:pt x="199" y="73"/>
                    <a:pt x="173" y="73"/>
                  </a:cubicBezTo>
                  <a:cubicBezTo>
                    <a:pt x="147" y="73"/>
                    <a:pt x="126" y="96"/>
                    <a:pt x="126" y="124"/>
                  </a:cubicBezTo>
                  <a:cubicBezTo>
                    <a:pt x="126" y="152"/>
                    <a:pt x="131" y="172"/>
                    <a:pt x="142" y="184"/>
                  </a:cubicBezTo>
                  <a:cubicBezTo>
                    <a:pt x="150" y="193"/>
                    <a:pt x="158" y="201"/>
                    <a:pt x="173" y="201"/>
                  </a:cubicBezTo>
                  <a:close/>
                  <a:moveTo>
                    <a:pt x="173" y="88"/>
                  </a:moveTo>
                  <a:cubicBezTo>
                    <a:pt x="190" y="88"/>
                    <a:pt x="205" y="104"/>
                    <a:pt x="205" y="124"/>
                  </a:cubicBezTo>
                  <a:cubicBezTo>
                    <a:pt x="205" y="148"/>
                    <a:pt x="201" y="165"/>
                    <a:pt x="193" y="174"/>
                  </a:cubicBezTo>
                  <a:cubicBezTo>
                    <a:pt x="184" y="184"/>
                    <a:pt x="180" y="187"/>
                    <a:pt x="173" y="187"/>
                  </a:cubicBezTo>
                  <a:cubicBezTo>
                    <a:pt x="166" y="187"/>
                    <a:pt x="161" y="184"/>
                    <a:pt x="153" y="174"/>
                  </a:cubicBezTo>
                  <a:cubicBezTo>
                    <a:pt x="145" y="165"/>
                    <a:pt x="141" y="148"/>
                    <a:pt x="141" y="124"/>
                  </a:cubicBezTo>
                  <a:cubicBezTo>
                    <a:pt x="141" y="104"/>
                    <a:pt x="155" y="88"/>
                    <a:pt x="173" y="88"/>
                  </a:cubicBez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94800" tIns="47375" rIns="94800" bIns="473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grpSp>
        <p:nvGrpSpPr>
          <p:cNvPr id="70" name="Google Shape;1088;p136">
            <a:extLst>
              <a:ext uri="{FF2B5EF4-FFF2-40B4-BE49-F238E27FC236}">
                <a16:creationId xmlns:a16="http://schemas.microsoft.com/office/drawing/2014/main" id="{21CDFBEE-98A5-4182-806D-B7405DB1B751}"/>
              </a:ext>
            </a:extLst>
          </p:cNvPr>
          <p:cNvGrpSpPr/>
          <p:nvPr/>
        </p:nvGrpSpPr>
        <p:grpSpPr>
          <a:xfrm>
            <a:off x="5087226" y="5906365"/>
            <a:ext cx="1682699" cy="297878"/>
            <a:chOff x="4946229" y="5791285"/>
            <a:chExt cx="1682699" cy="297878"/>
          </a:xfrm>
        </p:grpSpPr>
        <p:sp>
          <p:nvSpPr>
            <p:cNvPr id="71" name="Google Shape;1089;p136">
              <a:extLst>
                <a:ext uri="{FF2B5EF4-FFF2-40B4-BE49-F238E27FC236}">
                  <a16:creationId xmlns:a16="http://schemas.microsoft.com/office/drawing/2014/main" id="{52E7C45C-FB18-4957-9953-DA8AD9F93325}"/>
                </a:ext>
              </a:extLst>
            </p:cNvPr>
            <p:cNvSpPr/>
            <p:nvPr/>
          </p:nvSpPr>
          <p:spPr>
            <a:xfrm>
              <a:off x="5264828" y="5826224"/>
              <a:ext cx="1364100" cy="22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000" b="1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sym typeface="Arial"/>
                </a:rPr>
                <a:t>3. </a:t>
              </a:r>
              <a:r>
                <a:rPr lang="en-GB" sz="1000" b="1" dirty="0">
                  <a:latin typeface="Georgia" panose="02040502050405020303" pitchFamily="18" charset="0"/>
                </a:rPr>
                <a:t>Growth</a:t>
              </a: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72" name="Google Shape;1090;p136">
              <a:extLst>
                <a:ext uri="{FF2B5EF4-FFF2-40B4-BE49-F238E27FC236}">
                  <a16:creationId xmlns:a16="http://schemas.microsoft.com/office/drawing/2014/main" id="{85CADB85-E1EE-41B2-BFAC-039ACAA5A379}"/>
                </a:ext>
              </a:extLst>
            </p:cNvPr>
            <p:cNvSpPr/>
            <p:nvPr/>
          </p:nvSpPr>
          <p:spPr>
            <a:xfrm>
              <a:off x="4946229" y="5791285"/>
              <a:ext cx="297879" cy="297878"/>
            </a:xfrm>
            <a:custGeom>
              <a:avLst/>
              <a:gdLst/>
              <a:ahLst/>
              <a:cxnLst/>
              <a:rect l="l" t="t" r="r" b="b"/>
              <a:pathLst>
                <a:path w="660" h="668" extrusionOk="0">
                  <a:moveTo>
                    <a:pt x="0" y="0"/>
                  </a:moveTo>
                  <a:lnTo>
                    <a:pt x="0" y="668"/>
                  </a:lnTo>
                  <a:lnTo>
                    <a:pt x="660" y="668"/>
                  </a:lnTo>
                  <a:lnTo>
                    <a:pt x="6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36" y="644"/>
                  </a:moveTo>
                  <a:lnTo>
                    <a:pt x="33" y="644"/>
                  </a:lnTo>
                  <a:lnTo>
                    <a:pt x="33" y="30"/>
                  </a:lnTo>
                  <a:lnTo>
                    <a:pt x="636" y="30"/>
                  </a:lnTo>
                  <a:lnTo>
                    <a:pt x="636" y="644"/>
                  </a:lnTo>
                  <a:lnTo>
                    <a:pt x="636" y="644"/>
                  </a:lnTo>
                  <a:lnTo>
                    <a:pt x="636" y="644"/>
                  </a:lnTo>
                  <a:close/>
                  <a:moveTo>
                    <a:pt x="594" y="588"/>
                  </a:moveTo>
                  <a:lnTo>
                    <a:pt x="92" y="588"/>
                  </a:lnTo>
                  <a:lnTo>
                    <a:pt x="92" y="80"/>
                  </a:lnTo>
                  <a:lnTo>
                    <a:pt x="594" y="588"/>
                  </a:lnTo>
                  <a:lnTo>
                    <a:pt x="594" y="588"/>
                  </a:lnTo>
                  <a:lnTo>
                    <a:pt x="594" y="588"/>
                  </a:lnTo>
                  <a:close/>
                  <a:moveTo>
                    <a:pt x="440" y="564"/>
                  </a:moveTo>
                  <a:lnTo>
                    <a:pt x="527" y="564"/>
                  </a:lnTo>
                  <a:lnTo>
                    <a:pt x="121" y="153"/>
                  </a:lnTo>
                  <a:lnTo>
                    <a:pt x="121" y="564"/>
                  </a:lnTo>
                  <a:lnTo>
                    <a:pt x="169" y="564"/>
                  </a:lnTo>
                  <a:lnTo>
                    <a:pt x="169" y="534"/>
                  </a:lnTo>
                  <a:lnTo>
                    <a:pt x="203" y="534"/>
                  </a:lnTo>
                  <a:lnTo>
                    <a:pt x="203" y="564"/>
                  </a:lnTo>
                  <a:lnTo>
                    <a:pt x="252" y="564"/>
                  </a:lnTo>
                  <a:lnTo>
                    <a:pt x="252" y="534"/>
                  </a:lnTo>
                  <a:lnTo>
                    <a:pt x="280" y="534"/>
                  </a:lnTo>
                  <a:lnTo>
                    <a:pt x="280" y="564"/>
                  </a:lnTo>
                  <a:lnTo>
                    <a:pt x="329" y="564"/>
                  </a:lnTo>
                  <a:lnTo>
                    <a:pt x="329" y="534"/>
                  </a:lnTo>
                  <a:lnTo>
                    <a:pt x="357" y="534"/>
                  </a:lnTo>
                  <a:lnTo>
                    <a:pt x="357" y="564"/>
                  </a:lnTo>
                  <a:lnTo>
                    <a:pt x="410" y="564"/>
                  </a:lnTo>
                  <a:lnTo>
                    <a:pt x="410" y="534"/>
                  </a:lnTo>
                  <a:lnTo>
                    <a:pt x="440" y="534"/>
                  </a:lnTo>
                  <a:lnTo>
                    <a:pt x="440" y="564"/>
                  </a:lnTo>
                  <a:lnTo>
                    <a:pt x="440" y="564"/>
                  </a:lnTo>
                  <a:lnTo>
                    <a:pt x="440" y="564"/>
                  </a:lnTo>
                  <a:close/>
                  <a:moveTo>
                    <a:pt x="171" y="508"/>
                  </a:moveTo>
                  <a:lnTo>
                    <a:pt x="171" y="281"/>
                  </a:lnTo>
                  <a:lnTo>
                    <a:pt x="409" y="508"/>
                  </a:lnTo>
                  <a:lnTo>
                    <a:pt x="171" y="508"/>
                  </a:lnTo>
                  <a:lnTo>
                    <a:pt x="171" y="508"/>
                  </a:lnTo>
                  <a:lnTo>
                    <a:pt x="171" y="508"/>
                  </a:lnTo>
                  <a:close/>
                  <a:moveTo>
                    <a:pt x="205" y="480"/>
                  </a:moveTo>
                  <a:lnTo>
                    <a:pt x="331" y="480"/>
                  </a:lnTo>
                  <a:lnTo>
                    <a:pt x="205" y="352"/>
                  </a:lnTo>
                  <a:lnTo>
                    <a:pt x="205" y="480"/>
                  </a:lnTo>
                  <a:lnTo>
                    <a:pt x="205" y="480"/>
                  </a:lnTo>
                  <a:lnTo>
                    <a:pt x="205" y="480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txBody>
            <a:bodyPr spcFirstLastPara="1" wrap="square" lIns="94800" tIns="47375" rIns="94800" bIns="473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grpSp>
        <p:nvGrpSpPr>
          <p:cNvPr id="73" name="Google Shape;1091;p136">
            <a:extLst>
              <a:ext uri="{FF2B5EF4-FFF2-40B4-BE49-F238E27FC236}">
                <a16:creationId xmlns:a16="http://schemas.microsoft.com/office/drawing/2014/main" id="{0D4A29F8-114E-4FCC-B38D-4596FBCB8E4F}"/>
              </a:ext>
            </a:extLst>
          </p:cNvPr>
          <p:cNvGrpSpPr/>
          <p:nvPr/>
        </p:nvGrpSpPr>
        <p:grpSpPr>
          <a:xfrm>
            <a:off x="7278971" y="5906365"/>
            <a:ext cx="1698412" cy="297878"/>
            <a:chOff x="7131431" y="5791285"/>
            <a:chExt cx="1698412" cy="297878"/>
          </a:xfrm>
        </p:grpSpPr>
        <p:sp>
          <p:nvSpPr>
            <p:cNvPr id="74" name="Google Shape;1092;p136">
              <a:extLst>
                <a:ext uri="{FF2B5EF4-FFF2-40B4-BE49-F238E27FC236}">
                  <a16:creationId xmlns:a16="http://schemas.microsoft.com/office/drawing/2014/main" id="{5832469C-59E6-4381-9B1E-9A6EE50E818C}"/>
                </a:ext>
              </a:extLst>
            </p:cNvPr>
            <p:cNvSpPr/>
            <p:nvPr/>
          </p:nvSpPr>
          <p:spPr>
            <a:xfrm>
              <a:off x="7413843" y="5826224"/>
              <a:ext cx="1416000" cy="22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000" b="1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sym typeface="Arial"/>
                </a:rPr>
                <a:t>4. </a:t>
              </a:r>
              <a:r>
                <a:rPr lang="en-GB" sz="1000" b="1" dirty="0">
                  <a:latin typeface="Georgia" panose="02040502050405020303" pitchFamily="18" charset="0"/>
                </a:rPr>
                <a:t>Established</a:t>
              </a: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75" name="Google Shape;1093;p136">
              <a:extLst>
                <a:ext uri="{FF2B5EF4-FFF2-40B4-BE49-F238E27FC236}">
                  <a16:creationId xmlns:a16="http://schemas.microsoft.com/office/drawing/2014/main" id="{F96C2969-B359-4644-AAF1-5AA3A43EECD8}"/>
                </a:ext>
              </a:extLst>
            </p:cNvPr>
            <p:cNvSpPr/>
            <p:nvPr/>
          </p:nvSpPr>
          <p:spPr>
            <a:xfrm>
              <a:off x="7131431" y="5791285"/>
              <a:ext cx="297880" cy="297878"/>
            </a:xfrm>
            <a:custGeom>
              <a:avLst/>
              <a:gdLst/>
              <a:ahLst/>
              <a:cxnLst/>
              <a:rect l="l" t="t" r="r" b="b"/>
              <a:pathLst>
                <a:path w="347" h="346" extrusionOk="0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7" y="346"/>
                    <a:pt x="347" y="346"/>
                    <a:pt x="347" y="346"/>
                  </a:cubicBezTo>
                  <a:cubicBezTo>
                    <a:pt x="347" y="0"/>
                    <a:pt x="347" y="0"/>
                    <a:pt x="347" y="0"/>
                  </a:cubicBezTo>
                  <a:lnTo>
                    <a:pt x="0" y="0"/>
                  </a:lnTo>
                  <a:close/>
                  <a:moveTo>
                    <a:pt x="332" y="332"/>
                  </a:moveTo>
                  <a:cubicBezTo>
                    <a:pt x="15" y="332"/>
                    <a:pt x="15" y="332"/>
                    <a:pt x="15" y="332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2" y="15"/>
                    <a:pt x="332" y="15"/>
                    <a:pt x="332" y="15"/>
                  </a:cubicBezTo>
                  <a:lnTo>
                    <a:pt x="332" y="332"/>
                  </a:lnTo>
                  <a:close/>
                  <a:moveTo>
                    <a:pt x="48" y="309"/>
                  </a:moveTo>
                  <a:cubicBezTo>
                    <a:pt x="133" y="224"/>
                    <a:pt x="133" y="224"/>
                    <a:pt x="133" y="224"/>
                  </a:cubicBezTo>
                  <a:cubicBezTo>
                    <a:pt x="153" y="241"/>
                    <a:pt x="178" y="250"/>
                    <a:pt x="204" y="250"/>
                  </a:cubicBezTo>
                  <a:cubicBezTo>
                    <a:pt x="233" y="250"/>
                    <a:pt x="260" y="239"/>
                    <a:pt x="280" y="219"/>
                  </a:cubicBezTo>
                  <a:cubicBezTo>
                    <a:pt x="322" y="177"/>
                    <a:pt x="322" y="109"/>
                    <a:pt x="280" y="67"/>
                  </a:cubicBezTo>
                  <a:cubicBezTo>
                    <a:pt x="260" y="46"/>
                    <a:pt x="233" y="35"/>
                    <a:pt x="204" y="35"/>
                  </a:cubicBezTo>
                  <a:cubicBezTo>
                    <a:pt x="175" y="35"/>
                    <a:pt x="148" y="46"/>
                    <a:pt x="128" y="67"/>
                  </a:cubicBezTo>
                  <a:cubicBezTo>
                    <a:pt x="88" y="107"/>
                    <a:pt x="86" y="171"/>
                    <a:pt x="123" y="214"/>
                  </a:cubicBezTo>
                  <a:cubicBezTo>
                    <a:pt x="37" y="299"/>
                    <a:pt x="37" y="299"/>
                    <a:pt x="37" y="299"/>
                  </a:cubicBezTo>
                  <a:lnTo>
                    <a:pt x="48" y="309"/>
                  </a:lnTo>
                  <a:close/>
                  <a:moveTo>
                    <a:pt x="270" y="208"/>
                  </a:moveTo>
                  <a:cubicBezTo>
                    <a:pt x="252" y="226"/>
                    <a:pt x="229" y="236"/>
                    <a:pt x="204" y="236"/>
                  </a:cubicBezTo>
                  <a:cubicBezTo>
                    <a:pt x="179" y="236"/>
                    <a:pt x="156" y="226"/>
                    <a:pt x="138" y="208"/>
                  </a:cubicBezTo>
                  <a:cubicBezTo>
                    <a:pt x="134" y="204"/>
                    <a:pt x="129" y="199"/>
                    <a:pt x="126" y="193"/>
                  </a:cubicBezTo>
                  <a:cubicBezTo>
                    <a:pt x="139" y="193"/>
                    <a:pt x="139" y="193"/>
                    <a:pt x="139" y="193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217" y="193"/>
                    <a:pt x="217" y="193"/>
                    <a:pt x="217" y="193"/>
                  </a:cubicBezTo>
                  <a:cubicBezTo>
                    <a:pt x="231" y="193"/>
                    <a:pt x="231" y="193"/>
                    <a:pt x="231" y="193"/>
                  </a:cubicBezTo>
                  <a:cubicBezTo>
                    <a:pt x="270" y="193"/>
                    <a:pt x="270" y="193"/>
                    <a:pt x="270" y="193"/>
                  </a:cubicBezTo>
                  <a:cubicBezTo>
                    <a:pt x="282" y="193"/>
                    <a:pt x="282" y="193"/>
                    <a:pt x="282" y="193"/>
                  </a:cubicBezTo>
                  <a:cubicBezTo>
                    <a:pt x="278" y="199"/>
                    <a:pt x="274" y="204"/>
                    <a:pt x="270" y="208"/>
                  </a:cubicBezTo>
                  <a:close/>
                  <a:moveTo>
                    <a:pt x="193" y="112"/>
                  </a:moveTo>
                  <a:cubicBezTo>
                    <a:pt x="193" y="97"/>
                    <a:pt x="193" y="97"/>
                    <a:pt x="193" y="97"/>
                  </a:cubicBezTo>
                  <a:cubicBezTo>
                    <a:pt x="217" y="97"/>
                    <a:pt x="217" y="97"/>
                    <a:pt x="217" y="97"/>
                  </a:cubicBezTo>
                  <a:cubicBezTo>
                    <a:pt x="217" y="132"/>
                    <a:pt x="217" y="132"/>
                    <a:pt x="217" y="132"/>
                  </a:cubicBezTo>
                  <a:cubicBezTo>
                    <a:pt x="217" y="179"/>
                    <a:pt x="217" y="179"/>
                    <a:pt x="217" y="179"/>
                  </a:cubicBezTo>
                  <a:cubicBezTo>
                    <a:pt x="193" y="179"/>
                    <a:pt x="193" y="179"/>
                    <a:pt x="193" y="179"/>
                  </a:cubicBezTo>
                  <a:lnTo>
                    <a:pt x="193" y="112"/>
                  </a:lnTo>
                  <a:close/>
                  <a:moveTo>
                    <a:pt x="255" y="179"/>
                  </a:moveTo>
                  <a:cubicBezTo>
                    <a:pt x="231" y="179"/>
                    <a:pt x="231" y="179"/>
                    <a:pt x="231" y="179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5" y="147"/>
                    <a:pt x="255" y="147"/>
                    <a:pt x="255" y="147"/>
                  </a:cubicBezTo>
                  <a:lnTo>
                    <a:pt x="255" y="179"/>
                  </a:lnTo>
                  <a:close/>
                  <a:moveTo>
                    <a:pt x="178" y="179"/>
                  </a:moveTo>
                  <a:cubicBezTo>
                    <a:pt x="154" y="179"/>
                    <a:pt x="154" y="179"/>
                    <a:pt x="154" y="179"/>
                  </a:cubicBezTo>
                  <a:cubicBezTo>
                    <a:pt x="154" y="127"/>
                    <a:pt x="154" y="127"/>
                    <a:pt x="154" y="127"/>
                  </a:cubicBezTo>
                  <a:cubicBezTo>
                    <a:pt x="178" y="127"/>
                    <a:pt x="178" y="127"/>
                    <a:pt x="178" y="127"/>
                  </a:cubicBezTo>
                  <a:lnTo>
                    <a:pt x="178" y="179"/>
                  </a:lnTo>
                  <a:close/>
                  <a:moveTo>
                    <a:pt x="138" y="77"/>
                  </a:moveTo>
                  <a:cubicBezTo>
                    <a:pt x="156" y="59"/>
                    <a:pt x="179" y="50"/>
                    <a:pt x="204" y="50"/>
                  </a:cubicBezTo>
                  <a:cubicBezTo>
                    <a:pt x="229" y="50"/>
                    <a:pt x="252" y="59"/>
                    <a:pt x="270" y="77"/>
                  </a:cubicBezTo>
                  <a:cubicBezTo>
                    <a:pt x="297" y="104"/>
                    <a:pt x="304" y="145"/>
                    <a:pt x="290" y="179"/>
                  </a:cubicBezTo>
                  <a:cubicBezTo>
                    <a:pt x="270" y="179"/>
                    <a:pt x="270" y="179"/>
                    <a:pt x="270" y="179"/>
                  </a:cubicBezTo>
                  <a:cubicBezTo>
                    <a:pt x="270" y="132"/>
                    <a:pt x="270" y="132"/>
                    <a:pt x="270" y="132"/>
                  </a:cubicBezTo>
                  <a:cubicBezTo>
                    <a:pt x="231" y="132"/>
                    <a:pt x="231" y="132"/>
                    <a:pt x="231" y="132"/>
                  </a:cubicBezTo>
                  <a:cubicBezTo>
                    <a:pt x="231" y="83"/>
                    <a:pt x="231" y="83"/>
                    <a:pt x="231" y="83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112"/>
                    <a:pt x="178" y="112"/>
                    <a:pt x="178" y="112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18" y="179"/>
                    <a:pt x="118" y="179"/>
                    <a:pt x="118" y="179"/>
                  </a:cubicBezTo>
                  <a:cubicBezTo>
                    <a:pt x="104" y="145"/>
                    <a:pt x="111" y="104"/>
                    <a:pt x="138" y="77"/>
                  </a:cubicBez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4800" tIns="47375" rIns="94800" bIns="473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grpSp>
        <p:nvGrpSpPr>
          <p:cNvPr id="76" name="Google Shape;1094;p136">
            <a:extLst>
              <a:ext uri="{FF2B5EF4-FFF2-40B4-BE49-F238E27FC236}">
                <a16:creationId xmlns:a16="http://schemas.microsoft.com/office/drawing/2014/main" id="{80F805EF-0518-4B89-870F-BFBD288B8BAC}"/>
              </a:ext>
            </a:extLst>
          </p:cNvPr>
          <p:cNvGrpSpPr/>
          <p:nvPr/>
        </p:nvGrpSpPr>
        <p:grpSpPr>
          <a:xfrm>
            <a:off x="9486429" y="5906366"/>
            <a:ext cx="1843088" cy="297878"/>
            <a:chOff x="9337560" y="5791285"/>
            <a:chExt cx="1843088" cy="297878"/>
          </a:xfrm>
        </p:grpSpPr>
        <p:sp>
          <p:nvSpPr>
            <p:cNvPr id="77" name="Google Shape;1095;p136">
              <a:extLst>
                <a:ext uri="{FF2B5EF4-FFF2-40B4-BE49-F238E27FC236}">
                  <a16:creationId xmlns:a16="http://schemas.microsoft.com/office/drawing/2014/main" id="{60FEE1E1-3A89-49F6-8EEC-147146E94B20}"/>
                </a:ext>
              </a:extLst>
            </p:cNvPr>
            <p:cNvSpPr/>
            <p:nvPr/>
          </p:nvSpPr>
          <p:spPr>
            <a:xfrm>
              <a:off x="9651248" y="5826224"/>
              <a:ext cx="1529400" cy="228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GB" sz="1000" b="1" i="0" u="none" strike="noStrike" cap="none" dirty="0">
                  <a:solidFill>
                    <a:srgbClr val="000000"/>
                  </a:solidFill>
                  <a:latin typeface="Georgia" panose="02040502050405020303" pitchFamily="18" charset="0"/>
                  <a:sym typeface="Arial"/>
                </a:rPr>
                <a:t>5. Matured</a:t>
              </a: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  <p:sp>
          <p:nvSpPr>
            <p:cNvPr id="78" name="Google Shape;1096;p136">
              <a:extLst>
                <a:ext uri="{FF2B5EF4-FFF2-40B4-BE49-F238E27FC236}">
                  <a16:creationId xmlns:a16="http://schemas.microsoft.com/office/drawing/2014/main" id="{BCBA69D5-55EF-46CF-AB68-ECBDE6887545}"/>
                </a:ext>
              </a:extLst>
            </p:cNvPr>
            <p:cNvSpPr/>
            <p:nvPr/>
          </p:nvSpPr>
          <p:spPr>
            <a:xfrm>
              <a:off x="9337560" y="5791285"/>
              <a:ext cx="297880" cy="297878"/>
            </a:xfrm>
            <a:custGeom>
              <a:avLst/>
              <a:gdLst/>
              <a:ahLst/>
              <a:cxnLst/>
              <a:rect l="l" t="t" r="r" b="b"/>
              <a:pathLst>
                <a:path w="615" h="594" extrusionOk="0">
                  <a:moveTo>
                    <a:pt x="0" y="0"/>
                  </a:moveTo>
                  <a:cubicBezTo>
                    <a:pt x="0" y="594"/>
                    <a:pt x="0" y="594"/>
                    <a:pt x="0" y="594"/>
                  </a:cubicBezTo>
                  <a:cubicBezTo>
                    <a:pt x="615" y="594"/>
                    <a:pt x="615" y="594"/>
                    <a:pt x="615" y="594"/>
                  </a:cubicBezTo>
                  <a:cubicBezTo>
                    <a:pt x="615" y="0"/>
                    <a:pt x="615" y="0"/>
                    <a:pt x="6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595" y="574"/>
                  </a:moveTo>
                  <a:cubicBezTo>
                    <a:pt x="29" y="574"/>
                    <a:pt x="29" y="574"/>
                    <a:pt x="29" y="574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595" y="20"/>
                    <a:pt x="595" y="20"/>
                    <a:pt x="595" y="20"/>
                  </a:cubicBezTo>
                  <a:cubicBezTo>
                    <a:pt x="595" y="574"/>
                    <a:pt x="595" y="574"/>
                    <a:pt x="595" y="574"/>
                  </a:cubicBezTo>
                  <a:cubicBezTo>
                    <a:pt x="595" y="574"/>
                    <a:pt x="595" y="574"/>
                    <a:pt x="595" y="574"/>
                  </a:cubicBezTo>
                  <a:close/>
                  <a:moveTo>
                    <a:pt x="300" y="170"/>
                  </a:moveTo>
                  <a:cubicBezTo>
                    <a:pt x="266" y="170"/>
                    <a:pt x="241" y="142"/>
                    <a:pt x="241" y="108"/>
                  </a:cubicBezTo>
                  <a:cubicBezTo>
                    <a:pt x="241" y="77"/>
                    <a:pt x="266" y="49"/>
                    <a:pt x="300" y="49"/>
                  </a:cubicBezTo>
                  <a:cubicBezTo>
                    <a:pt x="334" y="49"/>
                    <a:pt x="361" y="77"/>
                    <a:pt x="361" y="108"/>
                  </a:cubicBezTo>
                  <a:cubicBezTo>
                    <a:pt x="361" y="142"/>
                    <a:pt x="334" y="170"/>
                    <a:pt x="300" y="170"/>
                  </a:cubicBezTo>
                  <a:close/>
                  <a:moveTo>
                    <a:pt x="300" y="73"/>
                  </a:moveTo>
                  <a:cubicBezTo>
                    <a:pt x="281" y="73"/>
                    <a:pt x="266" y="89"/>
                    <a:pt x="266" y="108"/>
                  </a:cubicBezTo>
                  <a:cubicBezTo>
                    <a:pt x="266" y="129"/>
                    <a:pt x="281" y="145"/>
                    <a:pt x="300" y="145"/>
                  </a:cubicBezTo>
                  <a:cubicBezTo>
                    <a:pt x="321" y="145"/>
                    <a:pt x="337" y="129"/>
                    <a:pt x="337" y="108"/>
                  </a:cubicBezTo>
                  <a:cubicBezTo>
                    <a:pt x="337" y="89"/>
                    <a:pt x="321" y="73"/>
                    <a:pt x="300" y="73"/>
                  </a:cubicBezTo>
                  <a:close/>
                  <a:moveTo>
                    <a:pt x="554" y="270"/>
                  </a:moveTo>
                  <a:cubicBezTo>
                    <a:pt x="426" y="270"/>
                    <a:pt x="426" y="270"/>
                    <a:pt x="426" y="270"/>
                  </a:cubicBezTo>
                  <a:cubicBezTo>
                    <a:pt x="426" y="182"/>
                    <a:pt x="426" y="182"/>
                    <a:pt x="426" y="182"/>
                  </a:cubicBezTo>
                  <a:cubicBezTo>
                    <a:pt x="180" y="182"/>
                    <a:pt x="180" y="182"/>
                    <a:pt x="180" y="182"/>
                  </a:cubicBezTo>
                  <a:cubicBezTo>
                    <a:pt x="180" y="270"/>
                    <a:pt x="180" y="270"/>
                    <a:pt x="180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2" y="387"/>
                    <a:pt x="72" y="387"/>
                    <a:pt x="72" y="387"/>
                  </a:cubicBezTo>
                  <a:cubicBezTo>
                    <a:pt x="102" y="387"/>
                    <a:pt x="102" y="387"/>
                    <a:pt x="102" y="387"/>
                  </a:cubicBezTo>
                  <a:cubicBezTo>
                    <a:pt x="102" y="533"/>
                    <a:pt x="102" y="533"/>
                    <a:pt x="102" y="533"/>
                  </a:cubicBezTo>
                  <a:cubicBezTo>
                    <a:pt x="525" y="533"/>
                    <a:pt x="525" y="533"/>
                    <a:pt x="525" y="533"/>
                  </a:cubicBezTo>
                  <a:cubicBezTo>
                    <a:pt x="525" y="387"/>
                    <a:pt x="525" y="387"/>
                    <a:pt x="525" y="387"/>
                  </a:cubicBezTo>
                  <a:cubicBezTo>
                    <a:pt x="554" y="387"/>
                    <a:pt x="554" y="387"/>
                    <a:pt x="554" y="387"/>
                  </a:cubicBezTo>
                  <a:cubicBezTo>
                    <a:pt x="554" y="270"/>
                    <a:pt x="554" y="270"/>
                    <a:pt x="554" y="270"/>
                  </a:cubicBezTo>
                  <a:cubicBezTo>
                    <a:pt x="554" y="270"/>
                    <a:pt x="554" y="270"/>
                    <a:pt x="554" y="270"/>
                  </a:cubicBezTo>
                  <a:close/>
                  <a:moveTo>
                    <a:pt x="210" y="211"/>
                  </a:moveTo>
                  <a:cubicBezTo>
                    <a:pt x="407" y="211"/>
                    <a:pt x="407" y="211"/>
                    <a:pt x="407" y="211"/>
                  </a:cubicBezTo>
                  <a:cubicBezTo>
                    <a:pt x="407" y="270"/>
                    <a:pt x="407" y="270"/>
                    <a:pt x="407" y="270"/>
                  </a:cubicBezTo>
                  <a:cubicBezTo>
                    <a:pt x="377" y="270"/>
                    <a:pt x="377" y="270"/>
                    <a:pt x="377" y="270"/>
                  </a:cubicBezTo>
                  <a:cubicBezTo>
                    <a:pt x="377" y="250"/>
                    <a:pt x="377" y="250"/>
                    <a:pt x="377" y="250"/>
                  </a:cubicBezTo>
                  <a:cubicBezTo>
                    <a:pt x="348" y="250"/>
                    <a:pt x="348" y="250"/>
                    <a:pt x="348" y="250"/>
                  </a:cubicBezTo>
                  <a:cubicBezTo>
                    <a:pt x="348" y="270"/>
                    <a:pt x="348" y="270"/>
                    <a:pt x="348" y="270"/>
                  </a:cubicBezTo>
                  <a:cubicBezTo>
                    <a:pt x="259" y="270"/>
                    <a:pt x="259" y="270"/>
                    <a:pt x="259" y="270"/>
                  </a:cubicBezTo>
                  <a:cubicBezTo>
                    <a:pt x="259" y="250"/>
                    <a:pt x="259" y="250"/>
                    <a:pt x="259" y="250"/>
                  </a:cubicBezTo>
                  <a:cubicBezTo>
                    <a:pt x="239" y="250"/>
                    <a:pt x="239" y="250"/>
                    <a:pt x="239" y="250"/>
                  </a:cubicBezTo>
                  <a:cubicBezTo>
                    <a:pt x="239" y="270"/>
                    <a:pt x="239" y="270"/>
                    <a:pt x="23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11"/>
                    <a:pt x="210" y="211"/>
                    <a:pt x="210" y="211"/>
                  </a:cubicBezTo>
                  <a:cubicBezTo>
                    <a:pt x="210" y="211"/>
                    <a:pt x="210" y="211"/>
                    <a:pt x="210" y="211"/>
                  </a:cubicBezTo>
                  <a:close/>
                  <a:moveTo>
                    <a:pt x="505" y="514"/>
                  </a:moveTo>
                  <a:cubicBezTo>
                    <a:pt x="121" y="514"/>
                    <a:pt x="121" y="514"/>
                    <a:pt x="121" y="514"/>
                  </a:cubicBezTo>
                  <a:cubicBezTo>
                    <a:pt x="121" y="387"/>
                    <a:pt x="121" y="387"/>
                    <a:pt x="121" y="387"/>
                  </a:cubicBezTo>
                  <a:cubicBezTo>
                    <a:pt x="505" y="387"/>
                    <a:pt x="505" y="387"/>
                    <a:pt x="505" y="387"/>
                  </a:cubicBezTo>
                  <a:cubicBezTo>
                    <a:pt x="505" y="514"/>
                    <a:pt x="505" y="514"/>
                    <a:pt x="505" y="514"/>
                  </a:cubicBezTo>
                  <a:cubicBezTo>
                    <a:pt x="505" y="514"/>
                    <a:pt x="505" y="514"/>
                    <a:pt x="505" y="514"/>
                  </a:cubicBezTo>
                  <a:close/>
                  <a:moveTo>
                    <a:pt x="525" y="358"/>
                  </a:moveTo>
                  <a:cubicBezTo>
                    <a:pt x="525" y="358"/>
                    <a:pt x="525" y="358"/>
                    <a:pt x="525" y="358"/>
                  </a:cubicBezTo>
                  <a:cubicBezTo>
                    <a:pt x="102" y="358"/>
                    <a:pt x="102" y="358"/>
                    <a:pt x="102" y="358"/>
                  </a:cubicBezTo>
                  <a:cubicBezTo>
                    <a:pt x="92" y="358"/>
                    <a:pt x="92" y="358"/>
                    <a:pt x="92" y="358"/>
                  </a:cubicBezTo>
                  <a:cubicBezTo>
                    <a:pt x="92" y="299"/>
                    <a:pt x="92" y="299"/>
                    <a:pt x="92" y="299"/>
                  </a:cubicBezTo>
                  <a:cubicBezTo>
                    <a:pt x="525" y="299"/>
                    <a:pt x="525" y="299"/>
                    <a:pt x="525" y="299"/>
                  </a:cubicBezTo>
                  <a:cubicBezTo>
                    <a:pt x="525" y="358"/>
                    <a:pt x="525" y="358"/>
                    <a:pt x="525" y="358"/>
                  </a:cubicBezTo>
                  <a:cubicBezTo>
                    <a:pt x="525" y="358"/>
                    <a:pt x="525" y="358"/>
                    <a:pt x="525" y="358"/>
                  </a:cubicBez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txBody>
            <a:bodyPr spcFirstLastPara="1" wrap="square" lIns="94800" tIns="47375" rIns="94800" bIns="473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endParaRPr sz="1000" b="0" i="0" u="none" strike="noStrike" cap="none" dirty="0">
                <a:solidFill>
                  <a:srgbClr val="000000"/>
                </a:solidFill>
                <a:latin typeface="Georgia" panose="02040502050405020303" pitchFamily="18" charset="0"/>
                <a:sym typeface="Arial"/>
              </a:endParaRPr>
            </a:p>
          </p:txBody>
        </p:sp>
      </p:grpSp>
      <p:sp>
        <p:nvSpPr>
          <p:cNvPr id="79" name="Google Shape;1075;p136">
            <a:extLst>
              <a:ext uri="{FF2B5EF4-FFF2-40B4-BE49-F238E27FC236}">
                <a16:creationId xmlns:a16="http://schemas.microsoft.com/office/drawing/2014/main" id="{4F998395-5923-44F1-8699-6CBAB55549AF}"/>
              </a:ext>
            </a:extLst>
          </p:cNvPr>
          <p:cNvSpPr/>
          <p:nvPr/>
        </p:nvSpPr>
        <p:spPr>
          <a:xfrm>
            <a:off x="5086727" y="2902688"/>
            <a:ext cx="2147700" cy="2974387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txBody>
          <a:bodyPr spcFirstLastPara="1" wrap="square" lIns="72000" tIns="36000" rIns="36000" bIns="36000" anchor="t" anchorCtr="0">
            <a:noAutofit/>
          </a:bodyPr>
          <a:lstStyle/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ppoint a dedicated CFO to track cash burn, working capital analysis, P&amp;L and balance sheet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Identify key business and compliance matric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bg1"/>
                </a:solidFill>
                <a:latin typeface="Georgia" panose="02040502050405020303" pitchFamily="18" charset="0"/>
              </a:rPr>
              <a:t>Establish the board as per the requirement of applicable law</a:t>
            </a: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ppoint reputed statutory and internal auditor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Compliance MIS reporting to board</a:t>
            </a: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Institutionalize the whistleblower program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Standardize contracts with customers and third parti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Matured HR function with employee and third-party awareness sessions</a:t>
            </a:r>
          </a:p>
          <a:p>
            <a:pPr>
              <a:buClr>
                <a:schemeClr val="bg1"/>
              </a:buClr>
              <a:buSzPts val="1000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80" name="Google Shape;1074;p136">
            <a:extLst>
              <a:ext uri="{FF2B5EF4-FFF2-40B4-BE49-F238E27FC236}">
                <a16:creationId xmlns:a16="http://schemas.microsoft.com/office/drawing/2014/main" id="{76C95111-A03C-4A53-84DF-639EB4A0474D}"/>
              </a:ext>
            </a:extLst>
          </p:cNvPr>
          <p:cNvSpPr/>
          <p:nvPr/>
        </p:nvSpPr>
        <p:spPr>
          <a:xfrm>
            <a:off x="7292850" y="1913860"/>
            <a:ext cx="2147700" cy="3963213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72000" tIns="36000" rIns="36000" bIns="36000" anchor="t" anchorCtr="0">
            <a:noAutofit/>
          </a:bodyPr>
          <a:lstStyle/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sym typeface="Arial"/>
              </a:rPr>
              <a:t>Expand the board to include non-executive and independent directors 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b="0" i="0" u="none" strike="noStrike" cap="none" dirty="0">
                <a:solidFill>
                  <a:srgbClr val="FFFFFF"/>
                </a:solidFill>
                <a:latin typeface="Georgia" panose="02040502050405020303" pitchFamily="18" charset="0"/>
                <a:sym typeface="Arial"/>
              </a:rPr>
              <a:t>Audit committee to periodically </a:t>
            </a: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eview whistleblower cas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Tone at the top from ethics and compliance perspective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nnual interaction of the statutory auditor with the board and key investor nomine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Tracking and reporting of related party transaction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eporting of compliance MIS to the board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In-house secretarial function under a competent and experienced leader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nnual forecasting of budgets and tracking expenditures against budget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Clear roadmap for IPO readines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Segregation of duties in each function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eporting of compliance matrices to board and investor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buClr>
                <a:schemeClr val="bg1"/>
              </a:buClr>
              <a:buSzPts val="1000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lang="en-US" sz="1000" b="0" i="0" u="none" strike="noStrike" cap="none" dirty="0">
              <a:solidFill>
                <a:srgbClr val="FFFFFF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81" name="Google Shape;1081;p136">
            <a:extLst>
              <a:ext uri="{FF2B5EF4-FFF2-40B4-BE49-F238E27FC236}">
                <a16:creationId xmlns:a16="http://schemas.microsoft.com/office/drawing/2014/main" id="{59719C81-BB19-45DD-96CA-4152FCA25D11}"/>
              </a:ext>
            </a:extLst>
          </p:cNvPr>
          <p:cNvSpPr/>
          <p:nvPr/>
        </p:nvSpPr>
        <p:spPr>
          <a:xfrm>
            <a:off x="9498977" y="882137"/>
            <a:ext cx="2411400" cy="4994936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72000" tIns="36000" rIns="36000" bIns="36000" anchor="t" anchorCtr="0">
            <a:noAutofit/>
          </a:bodyPr>
          <a:lstStyle/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Georgia" panose="02040502050405020303" pitchFamily="18" charset="0"/>
              </a:rPr>
              <a:t>Dedicated experienced company secretary</a:t>
            </a: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Georgia" panose="02040502050405020303" pitchFamily="18" charset="0"/>
              </a:rPr>
              <a:t>Implementation of regulatory reporting norms as per requirements of SEBI</a:t>
            </a: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Georgia" panose="02040502050405020303" pitchFamily="18" charset="0"/>
              </a:rPr>
              <a:t>Dedicated compliance and risk management function reporting directly to the board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ppointment of external ombudsman</a:t>
            </a:r>
            <a:endParaRPr lang="en-IN" sz="1000" dirty="0">
              <a:solidFill>
                <a:srgbClr val="FFFFFF"/>
              </a:solidFill>
              <a:latin typeface="Georgia" panose="02040502050405020303" pitchFamily="18" charset="0"/>
            </a:endParaRP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Georgia" panose="02040502050405020303" pitchFamily="18" charset="0"/>
              </a:rPr>
              <a:t>Processes to report and act upon non-compliances – POSH, ABAC, </a:t>
            </a: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Georgia" panose="02040502050405020303" pitchFamily="18" charset="0"/>
              </a:rPr>
              <a:t>Third party due diligence program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Reporting of compliance matrices to board and investor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Well defined Anti-Fraud and Anti-Bribery and Corruption program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Well defined crisis management committee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Periodic compliance audits of third parti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Automation of key functions through leading ERP system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Proactive identification, risk assessment and approval of related party transaction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Periodic tracking of culture score of the organization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Compliance self certifications by employees and third parties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Diversity, Equity, Inclusion program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Commitments towards CSR, sustainability with board reporting</a:t>
            </a: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lang="en-IN" sz="1000" dirty="0">
              <a:solidFill>
                <a:srgbClr val="FFFFFF"/>
              </a:solidFill>
              <a:latin typeface="Georgia" panose="02040502050405020303" pitchFamily="18" charset="0"/>
            </a:endParaRPr>
          </a:p>
          <a:p>
            <a:pPr marL="85725" lvl="0" indent="-85725">
              <a:buClr>
                <a:schemeClr val="bg1"/>
              </a:buClr>
              <a:buSzPts val="1000"/>
              <a:buFont typeface="Arial" panose="020B0604020202020204" pitchFamily="34" charset="0"/>
              <a:buChar char="•"/>
            </a:pPr>
            <a:endParaRPr sz="100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25" name="Google Shape;601;p6">
            <a:extLst>
              <a:ext uri="{FF2B5EF4-FFF2-40B4-BE49-F238E27FC236}">
                <a16:creationId xmlns:a16="http://schemas.microsoft.com/office/drawing/2014/main" id="{7AC3CD64-D776-4B04-8901-6C8AEF54B0B1}"/>
              </a:ext>
            </a:extLst>
          </p:cNvPr>
          <p:cNvSpPr/>
          <p:nvPr/>
        </p:nvSpPr>
        <p:spPr>
          <a:xfrm>
            <a:off x="4770810" y="6361642"/>
            <a:ext cx="178606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IN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B</a:t>
            </a:r>
            <a:r>
              <a:rPr lang="en-US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usiness evolution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Google Shape;601;p6">
            <a:extLst>
              <a:ext uri="{FF2B5EF4-FFF2-40B4-BE49-F238E27FC236}">
                <a16:creationId xmlns:a16="http://schemas.microsoft.com/office/drawing/2014/main" id="{C028C7C4-AD17-4419-8517-FE92ACAB27B8}"/>
              </a:ext>
            </a:extLst>
          </p:cNvPr>
          <p:cNvSpPr/>
          <p:nvPr/>
        </p:nvSpPr>
        <p:spPr>
          <a:xfrm rot="16200000">
            <a:off x="-530049" y="3492375"/>
            <a:ext cx="19800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IN" sz="1200" b="1" dirty="0">
                <a:solidFill>
                  <a:schemeClr val="tx1"/>
                </a:solidFill>
                <a:latin typeface="Georgia" panose="02040502050405020303" pitchFamily="18" charset="0"/>
              </a:rPr>
              <a:t>Maturity of Governance</a:t>
            </a:r>
            <a:endParaRPr sz="1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cxnSp>
        <p:nvCxnSpPr>
          <p:cNvPr id="53" name="Google Shape;5718;p397">
            <a:extLst>
              <a:ext uri="{FF2B5EF4-FFF2-40B4-BE49-F238E27FC236}">
                <a16:creationId xmlns:a16="http://schemas.microsoft.com/office/drawing/2014/main" id="{540F17F2-D201-49E6-B400-BA2240A9CCBA}"/>
              </a:ext>
            </a:extLst>
          </p:cNvPr>
          <p:cNvCxnSpPr/>
          <p:nvPr/>
        </p:nvCxnSpPr>
        <p:spPr>
          <a:xfrm>
            <a:off x="800035" y="3281754"/>
            <a:ext cx="3528000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54" name="Google Shape;5721;p397">
            <a:extLst>
              <a:ext uri="{FF2B5EF4-FFF2-40B4-BE49-F238E27FC236}">
                <a16:creationId xmlns:a16="http://schemas.microsoft.com/office/drawing/2014/main" id="{FACDB353-8D0E-42E3-9956-35D6EE61EB44}"/>
              </a:ext>
            </a:extLst>
          </p:cNvPr>
          <p:cNvSpPr/>
          <p:nvPr/>
        </p:nvSpPr>
        <p:spPr>
          <a:xfrm>
            <a:off x="798194" y="1212112"/>
            <a:ext cx="3509100" cy="1527153"/>
          </a:xfrm>
          <a:prstGeom prst="rect">
            <a:avLst/>
          </a:prstGeom>
          <a:noFill/>
          <a:ln w="9525" cap="flat" cmpd="sng">
            <a:solidFill>
              <a:srgbClr val="E0301E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FFFFFF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55" name="Google Shape;5722;p397">
            <a:extLst>
              <a:ext uri="{FF2B5EF4-FFF2-40B4-BE49-F238E27FC236}">
                <a16:creationId xmlns:a16="http://schemas.microsoft.com/office/drawing/2014/main" id="{1325E9BE-0D1E-417D-9414-107EC07857B6}"/>
              </a:ext>
            </a:extLst>
          </p:cNvPr>
          <p:cNvSpPr/>
          <p:nvPr/>
        </p:nvSpPr>
        <p:spPr>
          <a:xfrm>
            <a:off x="1138398" y="3171204"/>
            <a:ext cx="2933700" cy="2211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E0301E"/>
          </a:solidFill>
          <a:ln w="9525" cap="flat" cmpd="sng">
            <a:solidFill>
              <a:srgbClr val="E0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b="1" dirty="0">
                <a:solidFill>
                  <a:srgbClr val="FFFFFF"/>
                </a:solidFill>
              </a:rPr>
              <a:t>Key Tenets</a:t>
            </a:r>
            <a:endParaRPr sz="1000" b="1" dirty="0">
              <a:solidFill>
                <a:srgbClr val="FFFFFF"/>
              </a:solidFill>
            </a:endParaRPr>
          </a:p>
        </p:txBody>
      </p:sp>
      <p:sp>
        <p:nvSpPr>
          <p:cNvPr id="56" name="Google Shape;5723;p397">
            <a:extLst>
              <a:ext uri="{FF2B5EF4-FFF2-40B4-BE49-F238E27FC236}">
                <a16:creationId xmlns:a16="http://schemas.microsoft.com/office/drawing/2014/main" id="{221394E2-D318-484B-B980-3C87CB7FD01B}"/>
              </a:ext>
            </a:extLst>
          </p:cNvPr>
          <p:cNvSpPr/>
          <p:nvPr/>
        </p:nvSpPr>
        <p:spPr>
          <a:xfrm rot="-5400000">
            <a:off x="429020" y="1854229"/>
            <a:ext cx="1395000" cy="3504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rgbClr val="FFFFFF"/>
                </a:solidFill>
                <a:latin typeface="Georgia" panose="02040502050405020303" pitchFamily="18" charset="0"/>
              </a:rPr>
              <a:t>Transperancy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57" name="Google Shape;5724;p397">
            <a:extLst>
              <a:ext uri="{FF2B5EF4-FFF2-40B4-BE49-F238E27FC236}">
                <a16:creationId xmlns:a16="http://schemas.microsoft.com/office/drawing/2014/main" id="{22B2119D-973E-453F-B41C-3193A5E168AF}"/>
              </a:ext>
            </a:extLst>
          </p:cNvPr>
          <p:cNvSpPr/>
          <p:nvPr/>
        </p:nvSpPr>
        <p:spPr>
          <a:xfrm rot="-5400000">
            <a:off x="1175128" y="2048000"/>
            <a:ext cx="1007458" cy="350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000" dirty="0">
                <a:solidFill>
                  <a:srgbClr val="FFFFFF"/>
                </a:solidFill>
                <a:latin typeface="Georgia" panose="02040502050405020303" pitchFamily="18" charset="0"/>
                <a:sym typeface="Arial"/>
              </a:rPr>
              <a:t>Accountability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  <a:sym typeface="Arial"/>
            </a:endParaRPr>
          </a:p>
        </p:txBody>
      </p:sp>
      <p:sp>
        <p:nvSpPr>
          <p:cNvPr id="59" name="Google Shape;5725;p397">
            <a:extLst>
              <a:ext uri="{FF2B5EF4-FFF2-40B4-BE49-F238E27FC236}">
                <a16:creationId xmlns:a16="http://schemas.microsoft.com/office/drawing/2014/main" id="{7CA24914-0BA0-402C-9041-9F2F043403F7}"/>
              </a:ext>
            </a:extLst>
          </p:cNvPr>
          <p:cNvSpPr/>
          <p:nvPr/>
        </p:nvSpPr>
        <p:spPr>
          <a:xfrm rot="-5400000">
            <a:off x="1533694" y="1854229"/>
            <a:ext cx="1395000" cy="3504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Georgia" panose="02040502050405020303" pitchFamily="18" charset="0"/>
              </a:rPr>
              <a:t>Responsible business conduct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60" name="Google Shape;5726;p397">
            <a:extLst>
              <a:ext uri="{FF2B5EF4-FFF2-40B4-BE49-F238E27FC236}">
                <a16:creationId xmlns:a16="http://schemas.microsoft.com/office/drawing/2014/main" id="{063039A0-2105-416B-92B0-51067B37E5BC}"/>
              </a:ext>
            </a:extLst>
          </p:cNvPr>
          <p:cNvSpPr/>
          <p:nvPr/>
        </p:nvSpPr>
        <p:spPr>
          <a:xfrm rot="-5400000">
            <a:off x="2279802" y="2048000"/>
            <a:ext cx="1007458" cy="350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r>
              <a:rPr lang="en" sz="1000">
                <a:solidFill>
                  <a:srgbClr val="FFFFFF"/>
                </a:solidFill>
                <a:latin typeface="Georgia" panose="02040502050405020303" pitchFamily="18" charset="0"/>
              </a:rPr>
              <a:t>Armed Attack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61" name="Google Shape;5727;p397">
            <a:extLst>
              <a:ext uri="{FF2B5EF4-FFF2-40B4-BE49-F238E27FC236}">
                <a16:creationId xmlns:a16="http://schemas.microsoft.com/office/drawing/2014/main" id="{9AB6376E-4180-41EB-8C80-06BEB120EFFD}"/>
              </a:ext>
            </a:extLst>
          </p:cNvPr>
          <p:cNvSpPr/>
          <p:nvPr/>
        </p:nvSpPr>
        <p:spPr>
          <a:xfrm rot="-5400000">
            <a:off x="3384476" y="2048000"/>
            <a:ext cx="1007458" cy="350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Georgia" panose="02040502050405020303" pitchFamily="18" charset="0"/>
              </a:rPr>
              <a:t>Improvement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62" name="Google Shape;5728;p397">
            <a:extLst>
              <a:ext uri="{FF2B5EF4-FFF2-40B4-BE49-F238E27FC236}">
                <a16:creationId xmlns:a16="http://schemas.microsoft.com/office/drawing/2014/main" id="{5778E243-69EF-4EF7-8DEA-65B4F4B798FA}"/>
              </a:ext>
            </a:extLst>
          </p:cNvPr>
          <p:cNvSpPr/>
          <p:nvPr/>
        </p:nvSpPr>
        <p:spPr>
          <a:xfrm rot="-5400000">
            <a:off x="2638368" y="1854229"/>
            <a:ext cx="1395000" cy="350400"/>
          </a:xfrm>
          <a:prstGeom prst="rect">
            <a:avLst/>
          </a:prstGeom>
          <a:solidFill>
            <a:srgbClr val="E0301E"/>
          </a:solidFill>
          <a:ln>
            <a:noFill/>
          </a:ln>
        </p:spPr>
        <p:txBody>
          <a:bodyPr spcFirstLastPara="1" wrap="square" lIns="60500" tIns="30250" rIns="60500" bIns="30250" anchor="ctr" anchorCtr="0">
            <a:noAutofit/>
          </a:bodyPr>
          <a:lstStyle/>
          <a:p>
            <a:r>
              <a:rPr lang="en" sz="1000" dirty="0">
                <a:solidFill>
                  <a:srgbClr val="FFFFFF"/>
                </a:solidFill>
                <a:latin typeface="Georgia" panose="02040502050405020303" pitchFamily="18" charset="0"/>
              </a:rPr>
              <a:t>Compliance</a:t>
            </a:r>
            <a:endParaRPr sz="1000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85" name="Google Shape;5738;p397">
            <a:extLst>
              <a:ext uri="{FF2B5EF4-FFF2-40B4-BE49-F238E27FC236}">
                <a16:creationId xmlns:a16="http://schemas.microsoft.com/office/drawing/2014/main" id="{0357C4F3-83DE-4622-BE1D-0E48E2B28A4F}"/>
              </a:ext>
            </a:extLst>
          </p:cNvPr>
          <p:cNvSpPr/>
          <p:nvPr/>
        </p:nvSpPr>
        <p:spPr>
          <a:xfrm>
            <a:off x="1012221" y="2783063"/>
            <a:ext cx="256032" cy="256032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5739;p397">
            <a:extLst>
              <a:ext uri="{FF2B5EF4-FFF2-40B4-BE49-F238E27FC236}">
                <a16:creationId xmlns:a16="http://schemas.microsoft.com/office/drawing/2014/main" id="{DA765824-2262-4D04-BAE4-19AF23C27712}"/>
              </a:ext>
            </a:extLst>
          </p:cNvPr>
          <p:cNvSpPr/>
          <p:nvPr/>
        </p:nvSpPr>
        <p:spPr>
          <a:xfrm>
            <a:off x="1550858" y="2783063"/>
            <a:ext cx="256030" cy="256030"/>
          </a:xfrm>
          <a:custGeom>
            <a:avLst/>
            <a:gdLst/>
            <a:ahLst/>
            <a:cxnLst/>
            <a:rect l="l" t="t" r="r" b="b"/>
            <a:pathLst>
              <a:path w="2322" h="2322" extrusionOk="0">
                <a:moveTo>
                  <a:pt x="1162" y="452"/>
                </a:moveTo>
                <a:cubicBezTo>
                  <a:pt x="1130" y="452"/>
                  <a:pt x="1098" y="468"/>
                  <a:pt x="1082" y="497"/>
                </a:cubicBezTo>
                <a:cubicBezTo>
                  <a:pt x="395" y="1700"/>
                  <a:pt x="395" y="1700"/>
                  <a:pt x="395" y="1700"/>
                </a:cubicBezTo>
                <a:cubicBezTo>
                  <a:pt x="359" y="1761"/>
                  <a:pt x="403" y="1838"/>
                  <a:pt x="476" y="1838"/>
                </a:cubicBezTo>
                <a:cubicBezTo>
                  <a:pt x="1849" y="1838"/>
                  <a:pt x="1849" y="1838"/>
                  <a:pt x="1849" y="1838"/>
                </a:cubicBezTo>
                <a:cubicBezTo>
                  <a:pt x="1921" y="1838"/>
                  <a:pt x="1966" y="1761"/>
                  <a:pt x="1930" y="1700"/>
                </a:cubicBezTo>
                <a:cubicBezTo>
                  <a:pt x="1243" y="497"/>
                  <a:pt x="1243" y="497"/>
                  <a:pt x="1243" y="497"/>
                </a:cubicBezTo>
                <a:cubicBezTo>
                  <a:pt x="1227" y="468"/>
                  <a:pt x="1195" y="452"/>
                  <a:pt x="1162" y="452"/>
                </a:cubicBezTo>
                <a:close/>
                <a:moveTo>
                  <a:pt x="484" y="1740"/>
                </a:moveTo>
                <a:cubicBezTo>
                  <a:pt x="1162" y="554"/>
                  <a:pt x="1162" y="554"/>
                  <a:pt x="1162" y="554"/>
                </a:cubicBezTo>
                <a:cubicBezTo>
                  <a:pt x="1841" y="1740"/>
                  <a:pt x="1841" y="1740"/>
                  <a:pt x="1841" y="1740"/>
                </a:cubicBezTo>
                <a:cubicBezTo>
                  <a:pt x="484" y="1740"/>
                  <a:pt x="484" y="1740"/>
                  <a:pt x="484" y="1740"/>
                </a:cubicBezTo>
                <a:cubicBezTo>
                  <a:pt x="484" y="1740"/>
                  <a:pt x="484" y="1740"/>
                  <a:pt x="484" y="1740"/>
                </a:cubicBezTo>
                <a:close/>
                <a:moveTo>
                  <a:pt x="1114" y="953"/>
                </a:moveTo>
                <a:cubicBezTo>
                  <a:pt x="1114" y="1361"/>
                  <a:pt x="1114" y="1361"/>
                  <a:pt x="1114" y="1361"/>
                </a:cubicBezTo>
                <a:cubicBezTo>
                  <a:pt x="1211" y="1361"/>
                  <a:pt x="1211" y="1361"/>
                  <a:pt x="1211" y="1361"/>
                </a:cubicBezTo>
                <a:cubicBezTo>
                  <a:pt x="1211" y="953"/>
                  <a:pt x="1211" y="953"/>
                  <a:pt x="1211" y="953"/>
                </a:cubicBezTo>
                <a:cubicBezTo>
                  <a:pt x="1114" y="953"/>
                  <a:pt x="1114" y="953"/>
                  <a:pt x="1114" y="953"/>
                </a:cubicBezTo>
                <a:cubicBezTo>
                  <a:pt x="1114" y="953"/>
                  <a:pt x="1114" y="953"/>
                  <a:pt x="1114" y="953"/>
                </a:cubicBezTo>
                <a:close/>
                <a:moveTo>
                  <a:pt x="1090" y="1536"/>
                </a:moveTo>
                <a:cubicBezTo>
                  <a:pt x="1090" y="1577"/>
                  <a:pt x="1122" y="1610"/>
                  <a:pt x="1162" y="1610"/>
                </a:cubicBezTo>
                <a:cubicBezTo>
                  <a:pt x="1203" y="1610"/>
                  <a:pt x="1235" y="1577"/>
                  <a:pt x="1235" y="1536"/>
                </a:cubicBezTo>
                <a:cubicBezTo>
                  <a:pt x="1235" y="1496"/>
                  <a:pt x="1203" y="1463"/>
                  <a:pt x="1162" y="1463"/>
                </a:cubicBezTo>
                <a:cubicBezTo>
                  <a:pt x="1122" y="1463"/>
                  <a:pt x="1090" y="1496"/>
                  <a:pt x="1090" y="1536"/>
                </a:cubicBezTo>
                <a:close/>
                <a:moveTo>
                  <a:pt x="0" y="0"/>
                </a:moveTo>
                <a:cubicBezTo>
                  <a:pt x="0" y="2322"/>
                  <a:pt x="0" y="2322"/>
                  <a:pt x="0" y="2322"/>
                </a:cubicBezTo>
                <a:cubicBezTo>
                  <a:pt x="2322" y="2322"/>
                  <a:pt x="2322" y="2322"/>
                  <a:pt x="2322" y="2322"/>
                </a:cubicBezTo>
                <a:cubicBezTo>
                  <a:pt x="2322" y="0"/>
                  <a:pt x="2322" y="0"/>
                  <a:pt x="23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203" y="2231"/>
                </a:moveTo>
                <a:cubicBezTo>
                  <a:pt x="89" y="2231"/>
                  <a:pt x="89" y="2231"/>
                  <a:pt x="89" y="2231"/>
                </a:cubicBezTo>
                <a:cubicBezTo>
                  <a:pt x="89" y="91"/>
                  <a:pt x="89" y="91"/>
                  <a:pt x="89" y="91"/>
                </a:cubicBezTo>
                <a:cubicBezTo>
                  <a:pt x="2203" y="91"/>
                  <a:pt x="2203" y="91"/>
                  <a:pt x="2203" y="91"/>
                </a:cubicBezTo>
                <a:cubicBezTo>
                  <a:pt x="2203" y="2231"/>
                  <a:pt x="2203" y="2231"/>
                  <a:pt x="2203" y="2231"/>
                </a:cubicBezTo>
                <a:cubicBezTo>
                  <a:pt x="2203" y="2231"/>
                  <a:pt x="2203" y="2231"/>
                  <a:pt x="2203" y="223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5740;p397">
            <a:extLst>
              <a:ext uri="{FF2B5EF4-FFF2-40B4-BE49-F238E27FC236}">
                <a16:creationId xmlns:a16="http://schemas.microsoft.com/office/drawing/2014/main" id="{557F3769-1FE8-4C7C-A5E7-BFAD7529B663}"/>
              </a:ext>
            </a:extLst>
          </p:cNvPr>
          <p:cNvSpPr/>
          <p:nvPr/>
        </p:nvSpPr>
        <p:spPr>
          <a:xfrm>
            <a:off x="2103178" y="2783063"/>
            <a:ext cx="256032" cy="256032"/>
          </a:xfrm>
          <a:custGeom>
            <a:avLst/>
            <a:gdLst/>
            <a:ahLst/>
            <a:cxnLst/>
            <a:rect l="l" t="t" r="r" b="b"/>
            <a:pathLst>
              <a:path w="299" h="299" extrusionOk="0">
                <a:moveTo>
                  <a:pt x="216" y="0"/>
                </a:moveTo>
                <a:lnTo>
                  <a:pt x="216" y="0"/>
                </a:lnTo>
                <a:lnTo>
                  <a:pt x="192" y="0"/>
                </a:lnTo>
                <a:lnTo>
                  <a:pt x="156" y="104"/>
                </a:lnTo>
                <a:lnTo>
                  <a:pt x="210" y="104"/>
                </a:lnTo>
                <a:lnTo>
                  <a:pt x="127" y="208"/>
                </a:lnTo>
                <a:lnTo>
                  <a:pt x="153" y="132"/>
                </a:lnTo>
                <a:lnTo>
                  <a:pt x="108" y="131"/>
                </a:lnTo>
                <a:lnTo>
                  <a:pt x="151" y="6"/>
                </a:lnTo>
                <a:lnTo>
                  <a:pt x="153" y="0"/>
                </a:lnTo>
                <a:lnTo>
                  <a:pt x="140" y="0"/>
                </a:lnTo>
                <a:lnTo>
                  <a:pt x="124" y="0"/>
                </a:lnTo>
                <a:lnTo>
                  <a:pt x="0" y="0"/>
                </a:lnTo>
                <a:lnTo>
                  <a:pt x="0" y="299"/>
                </a:lnTo>
                <a:lnTo>
                  <a:pt x="299" y="299"/>
                </a:lnTo>
                <a:lnTo>
                  <a:pt x="299" y="0"/>
                </a:lnTo>
                <a:lnTo>
                  <a:pt x="216" y="0"/>
                </a:lnTo>
                <a:close/>
                <a:moveTo>
                  <a:pt x="286" y="287"/>
                </a:moveTo>
                <a:lnTo>
                  <a:pt x="13" y="287"/>
                </a:lnTo>
                <a:lnTo>
                  <a:pt x="13" y="13"/>
                </a:lnTo>
                <a:lnTo>
                  <a:pt x="135" y="13"/>
                </a:lnTo>
                <a:lnTo>
                  <a:pt x="135" y="13"/>
                </a:lnTo>
                <a:lnTo>
                  <a:pt x="90" y="144"/>
                </a:lnTo>
                <a:lnTo>
                  <a:pt x="135" y="144"/>
                </a:lnTo>
                <a:lnTo>
                  <a:pt x="92" y="272"/>
                </a:lnTo>
                <a:lnTo>
                  <a:pt x="237" y="91"/>
                </a:lnTo>
                <a:lnTo>
                  <a:pt x="174" y="91"/>
                </a:lnTo>
                <a:lnTo>
                  <a:pt x="201" y="13"/>
                </a:lnTo>
                <a:lnTo>
                  <a:pt x="286" y="13"/>
                </a:lnTo>
                <a:lnTo>
                  <a:pt x="286" y="28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5741;p397">
            <a:extLst>
              <a:ext uri="{FF2B5EF4-FFF2-40B4-BE49-F238E27FC236}">
                <a16:creationId xmlns:a16="http://schemas.microsoft.com/office/drawing/2014/main" id="{E07FD035-D02D-43AE-A98B-4B88E78272CF}"/>
              </a:ext>
            </a:extLst>
          </p:cNvPr>
          <p:cNvSpPr/>
          <p:nvPr/>
        </p:nvSpPr>
        <p:spPr>
          <a:xfrm>
            <a:off x="2655515" y="2783063"/>
            <a:ext cx="256033" cy="256032"/>
          </a:xfrm>
          <a:custGeom>
            <a:avLst/>
            <a:gdLst/>
            <a:ahLst/>
            <a:cxnLst/>
            <a:rect l="l" t="t" r="r" b="b"/>
            <a:pathLst>
              <a:path w="616" h="606" extrusionOk="0">
                <a:moveTo>
                  <a:pt x="0" y="0"/>
                </a:moveTo>
                <a:cubicBezTo>
                  <a:pt x="0" y="606"/>
                  <a:pt x="0" y="606"/>
                  <a:pt x="0" y="606"/>
                </a:cubicBezTo>
                <a:cubicBezTo>
                  <a:pt x="616" y="606"/>
                  <a:pt x="616" y="606"/>
                  <a:pt x="616" y="606"/>
                </a:cubicBezTo>
                <a:cubicBezTo>
                  <a:pt x="616" y="0"/>
                  <a:pt x="616" y="0"/>
                  <a:pt x="61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33" y="26"/>
                </a:moveTo>
                <a:cubicBezTo>
                  <a:pt x="590" y="26"/>
                  <a:pt x="590" y="26"/>
                  <a:pt x="590" y="26"/>
                </a:cubicBezTo>
                <a:cubicBezTo>
                  <a:pt x="590" y="581"/>
                  <a:pt x="590" y="581"/>
                  <a:pt x="590" y="581"/>
                </a:cubicBezTo>
                <a:cubicBezTo>
                  <a:pt x="33" y="581"/>
                  <a:pt x="33" y="581"/>
                  <a:pt x="33" y="581"/>
                </a:cubicBezTo>
                <a:cubicBezTo>
                  <a:pt x="33" y="26"/>
                  <a:pt x="33" y="26"/>
                  <a:pt x="33" y="26"/>
                </a:cubicBezTo>
                <a:cubicBezTo>
                  <a:pt x="33" y="26"/>
                  <a:pt x="33" y="26"/>
                  <a:pt x="33" y="26"/>
                </a:cubicBezTo>
                <a:close/>
                <a:moveTo>
                  <a:pt x="197" y="234"/>
                </a:moveTo>
                <a:cubicBezTo>
                  <a:pt x="185" y="234"/>
                  <a:pt x="185" y="234"/>
                  <a:pt x="185" y="234"/>
                </a:cubicBezTo>
                <a:cubicBezTo>
                  <a:pt x="185" y="173"/>
                  <a:pt x="185" y="173"/>
                  <a:pt x="185" y="173"/>
                </a:cubicBezTo>
                <a:cubicBezTo>
                  <a:pt x="185" y="132"/>
                  <a:pt x="169" y="94"/>
                  <a:pt x="160" y="78"/>
                </a:cubicBezTo>
                <a:cubicBezTo>
                  <a:pt x="148" y="50"/>
                  <a:pt x="148" y="50"/>
                  <a:pt x="148" y="50"/>
                </a:cubicBezTo>
                <a:cubicBezTo>
                  <a:pt x="136" y="75"/>
                  <a:pt x="136" y="75"/>
                  <a:pt x="136" y="75"/>
                </a:cubicBezTo>
                <a:cubicBezTo>
                  <a:pt x="126" y="91"/>
                  <a:pt x="111" y="129"/>
                  <a:pt x="111" y="173"/>
                </a:cubicBezTo>
                <a:cubicBezTo>
                  <a:pt x="111" y="234"/>
                  <a:pt x="111" y="234"/>
                  <a:pt x="111" y="234"/>
                </a:cubicBezTo>
                <a:cubicBezTo>
                  <a:pt x="99" y="234"/>
                  <a:pt x="99" y="234"/>
                  <a:pt x="99" y="234"/>
                </a:cubicBezTo>
                <a:cubicBezTo>
                  <a:pt x="99" y="494"/>
                  <a:pt x="99" y="494"/>
                  <a:pt x="99" y="494"/>
                </a:cubicBezTo>
                <a:cubicBezTo>
                  <a:pt x="80" y="529"/>
                  <a:pt x="80" y="529"/>
                  <a:pt x="80" y="529"/>
                </a:cubicBezTo>
                <a:cubicBezTo>
                  <a:pt x="74" y="544"/>
                  <a:pt x="74" y="544"/>
                  <a:pt x="74" y="544"/>
                </a:cubicBezTo>
                <a:cubicBezTo>
                  <a:pt x="222" y="544"/>
                  <a:pt x="222" y="544"/>
                  <a:pt x="222" y="544"/>
                </a:cubicBezTo>
                <a:cubicBezTo>
                  <a:pt x="197" y="494"/>
                  <a:pt x="197" y="494"/>
                  <a:pt x="197" y="494"/>
                </a:cubicBezTo>
                <a:cubicBezTo>
                  <a:pt x="197" y="234"/>
                  <a:pt x="197" y="234"/>
                  <a:pt x="197" y="234"/>
                </a:cubicBezTo>
                <a:cubicBezTo>
                  <a:pt x="197" y="234"/>
                  <a:pt x="197" y="234"/>
                  <a:pt x="197" y="234"/>
                </a:cubicBezTo>
                <a:close/>
                <a:moveTo>
                  <a:pt x="117" y="256"/>
                </a:moveTo>
                <a:cubicBezTo>
                  <a:pt x="176" y="256"/>
                  <a:pt x="176" y="256"/>
                  <a:pt x="176" y="256"/>
                </a:cubicBezTo>
                <a:cubicBezTo>
                  <a:pt x="176" y="484"/>
                  <a:pt x="176" y="484"/>
                  <a:pt x="176" y="484"/>
                </a:cubicBezTo>
                <a:cubicBezTo>
                  <a:pt x="117" y="484"/>
                  <a:pt x="117" y="484"/>
                  <a:pt x="117" y="48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56"/>
                  <a:pt x="117" y="256"/>
                  <a:pt x="117" y="256"/>
                </a:cubicBezTo>
                <a:close/>
                <a:moveTo>
                  <a:pt x="129" y="173"/>
                </a:moveTo>
                <a:cubicBezTo>
                  <a:pt x="129" y="142"/>
                  <a:pt x="142" y="113"/>
                  <a:pt x="148" y="97"/>
                </a:cubicBezTo>
                <a:cubicBezTo>
                  <a:pt x="154" y="113"/>
                  <a:pt x="163" y="142"/>
                  <a:pt x="163" y="173"/>
                </a:cubicBezTo>
                <a:cubicBezTo>
                  <a:pt x="163" y="234"/>
                  <a:pt x="163" y="234"/>
                  <a:pt x="163" y="234"/>
                </a:cubicBezTo>
                <a:cubicBezTo>
                  <a:pt x="129" y="234"/>
                  <a:pt x="129" y="234"/>
                  <a:pt x="129" y="234"/>
                </a:cubicBezTo>
                <a:cubicBezTo>
                  <a:pt x="129" y="173"/>
                  <a:pt x="129" y="173"/>
                  <a:pt x="129" y="173"/>
                </a:cubicBezTo>
                <a:cubicBezTo>
                  <a:pt x="129" y="173"/>
                  <a:pt x="129" y="173"/>
                  <a:pt x="129" y="173"/>
                </a:cubicBezTo>
                <a:close/>
                <a:moveTo>
                  <a:pt x="108" y="522"/>
                </a:moveTo>
                <a:cubicBezTo>
                  <a:pt x="114" y="506"/>
                  <a:pt x="114" y="506"/>
                  <a:pt x="114" y="506"/>
                </a:cubicBezTo>
                <a:cubicBezTo>
                  <a:pt x="182" y="506"/>
                  <a:pt x="182" y="506"/>
                  <a:pt x="182" y="506"/>
                </a:cubicBezTo>
                <a:cubicBezTo>
                  <a:pt x="188" y="522"/>
                  <a:pt x="188" y="522"/>
                  <a:pt x="188" y="522"/>
                </a:cubicBezTo>
                <a:cubicBezTo>
                  <a:pt x="108" y="522"/>
                  <a:pt x="108" y="522"/>
                  <a:pt x="108" y="522"/>
                </a:cubicBezTo>
                <a:cubicBezTo>
                  <a:pt x="108" y="522"/>
                  <a:pt x="108" y="522"/>
                  <a:pt x="108" y="522"/>
                </a:cubicBezTo>
                <a:close/>
                <a:moveTo>
                  <a:pt x="368" y="234"/>
                </a:moveTo>
                <a:cubicBezTo>
                  <a:pt x="355" y="234"/>
                  <a:pt x="355" y="234"/>
                  <a:pt x="355" y="234"/>
                </a:cubicBezTo>
                <a:cubicBezTo>
                  <a:pt x="355" y="173"/>
                  <a:pt x="355" y="173"/>
                  <a:pt x="355" y="173"/>
                </a:cubicBezTo>
                <a:cubicBezTo>
                  <a:pt x="355" y="132"/>
                  <a:pt x="339" y="94"/>
                  <a:pt x="329" y="78"/>
                </a:cubicBezTo>
                <a:cubicBezTo>
                  <a:pt x="312" y="50"/>
                  <a:pt x="312" y="50"/>
                  <a:pt x="312" y="50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3" y="91"/>
                  <a:pt x="273" y="129"/>
                  <a:pt x="273" y="173"/>
                </a:cubicBezTo>
                <a:cubicBezTo>
                  <a:pt x="273" y="234"/>
                  <a:pt x="273" y="234"/>
                  <a:pt x="273" y="234"/>
                </a:cubicBezTo>
                <a:cubicBezTo>
                  <a:pt x="260" y="234"/>
                  <a:pt x="260" y="234"/>
                  <a:pt x="260" y="234"/>
                </a:cubicBezTo>
                <a:cubicBezTo>
                  <a:pt x="260" y="494"/>
                  <a:pt x="260" y="494"/>
                  <a:pt x="260" y="494"/>
                </a:cubicBezTo>
                <a:cubicBezTo>
                  <a:pt x="244" y="529"/>
                  <a:pt x="244" y="529"/>
                  <a:pt x="244" y="529"/>
                </a:cubicBezTo>
                <a:cubicBezTo>
                  <a:pt x="234" y="544"/>
                  <a:pt x="234" y="544"/>
                  <a:pt x="234" y="544"/>
                </a:cubicBezTo>
                <a:cubicBezTo>
                  <a:pt x="394" y="544"/>
                  <a:pt x="394" y="544"/>
                  <a:pt x="394" y="544"/>
                </a:cubicBezTo>
                <a:cubicBezTo>
                  <a:pt x="368" y="494"/>
                  <a:pt x="368" y="494"/>
                  <a:pt x="368" y="494"/>
                </a:cubicBezTo>
                <a:cubicBezTo>
                  <a:pt x="368" y="234"/>
                  <a:pt x="368" y="234"/>
                  <a:pt x="368" y="234"/>
                </a:cubicBezTo>
                <a:cubicBezTo>
                  <a:pt x="368" y="234"/>
                  <a:pt x="368" y="234"/>
                  <a:pt x="368" y="234"/>
                </a:cubicBezTo>
                <a:close/>
                <a:moveTo>
                  <a:pt x="283" y="256"/>
                </a:moveTo>
                <a:cubicBezTo>
                  <a:pt x="345" y="256"/>
                  <a:pt x="345" y="256"/>
                  <a:pt x="345" y="256"/>
                </a:cubicBezTo>
                <a:cubicBezTo>
                  <a:pt x="345" y="484"/>
                  <a:pt x="345" y="484"/>
                  <a:pt x="345" y="484"/>
                </a:cubicBezTo>
                <a:cubicBezTo>
                  <a:pt x="283" y="484"/>
                  <a:pt x="283" y="484"/>
                  <a:pt x="283" y="484"/>
                </a:cubicBezTo>
                <a:cubicBezTo>
                  <a:pt x="283" y="256"/>
                  <a:pt x="283" y="256"/>
                  <a:pt x="283" y="256"/>
                </a:cubicBezTo>
                <a:cubicBezTo>
                  <a:pt x="283" y="256"/>
                  <a:pt x="283" y="256"/>
                  <a:pt x="283" y="256"/>
                </a:cubicBezTo>
                <a:close/>
                <a:moveTo>
                  <a:pt x="296" y="173"/>
                </a:moveTo>
                <a:cubicBezTo>
                  <a:pt x="296" y="142"/>
                  <a:pt x="306" y="113"/>
                  <a:pt x="312" y="97"/>
                </a:cubicBezTo>
                <a:cubicBezTo>
                  <a:pt x="322" y="113"/>
                  <a:pt x="332" y="142"/>
                  <a:pt x="332" y="173"/>
                </a:cubicBezTo>
                <a:cubicBezTo>
                  <a:pt x="332" y="234"/>
                  <a:pt x="332" y="234"/>
                  <a:pt x="332" y="234"/>
                </a:cubicBezTo>
                <a:cubicBezTo>
                  <a:pt x="296" y="234"/>
                  <a:pt x="296" y="234"/>
                  <a:pt x="296" y="234"/>
                </a:cubicBezTo>
                <a:cubicBezTo>
                  <a:pt x="296" y="173"/>
                  <a:pt x="296" y="173"/>
                  <a:pt x="296" y="173"/>
                </a:cubicBezTo>
                <a:cubicBezTo>
                  <a:pt x="296" y="173"/>
                  <a:pt x="296" y="173"/>
                  <a:pt x="296" y="173"/>
                </a:cubicBezTo>
                <a:close/>
                <a:moveTo>
                  <a:pt x="270" y="522"/>
                </a:moveTo>
                <a:cubicBezTo>
                  <a:pt x="280" y="506"/>
                  <a:pt x="280" y="506"/>
                  <a:pt x="280" y="506"/>
                </a:cubicBezTo>
                <a:cubicBezTo>
                  <a:pt x="348" y="506"/>
                  <a:pt x="348" y="506"/>
                  <a:pt x="348" y="506"/>
                </a:cubicBezTo>
                <a:cubicBezTo>
                  <a:pt x="358" y="522"/>
                  <a:pt x="358" y="522"/>
                  <a:pt x="358" y="522"/>
                </a:cubicBezTo>
                <a:cubicBezTo>
                  <a:pt x="270" y="522"/>
                  <a:pt x="270" y="522"/>
                  <a:pt x="270" y="522"/>
                </a:cubicBezTo>
                <a:cubicBezTo>
                  <a:pt x="270" y="522"/>
                  <a:pt x="270" y="522"/>
                  <a:pt x="270" y="522"/>
                </a:cubicBezTo>
                <a:close/>
                <a:moveTo>
                  <a:pt x="530" y="494"/>
                </a:moveTo>
                <a:cubicBezTo>
                  <a:pt x="530" y="234"/>
                  <a:pt x="530" y="234"/>
                  <a:pt x="530" y="234"/>
                </a:cubicBezTo>
                <a:cubicBezTo>
                  <a:pt x="517" y="234"/>
                  <a:pt x="517" y="234"/>
                  <a:pt x="517" y="234"/>
                </a:cubicBezTo>
                <a:cubicBezTo>
                  <a:pt x="517" y="173"/>
                  <a:pt x="517" y="173"/>
                  <a:pt x="517" y="173"/>
                </a:cubicBezTo>
                <a:cubicBezTo>
                  <a:pt x="517" y="132"/>
                  <a:pt x="502" y="94"/>
                  <a:pt x="493" y="78"/>
                </a:cubicBezTo>
                <a:cubicBezTo>
                  <a:pt x="480" y="50"/>
                  <a:pt x="480" y="50"/>
                  <a:pt x="480" y="50"/>
                </a:cubicBezTo>
                <a:cubicBezTo>
                  <a:pt x="468" y="75"/>
                  <a:pt x="468" y="75"/>
                  <a:pt x="468" y="75"/>
                </a:cubicBezTo>
                <a:cubicBezTo>
                  <a:pt x="459" y="91"/>
                  <a:pt x="443" y="129"/>
                  <a:pt x="443" y="173"/>
                </a:cubicBezTo>
                <a:cubicBezTo>
                  <a:pt x="443" y="234"/>
                  <a:pt x="443" y="234"/>
                  <a:pt x="443" y="234"/>
                </a:cubicBezTo>
                <a:cubicBezTo>
                  <a:pt x="431" y="234"/>
                  <a:pt x="431" y="234"/>
                  <a:pt x="431" y="234"/>
                </a:cubicBezTo>
                <a:cubicBezTo>
                  <a:pt x="431" y="494"/>
                  <a:pt x="431" y="494"/>
                  <a:pt x="431" y="494"/>
                </a:cubicBezTo>
                <a:cubicBezTo>
                  <a:pt x="413" y="529"/>
                  <a:pt x="413" y="529"/>
                  <a:pt x="413" y="529"/>
                </a:cubicBezTo>
                <a:cubicBezTo>
                  <a:pt x="406" y="544"/>
                  <a:pt x="406" y="544"/>
                  <a:pt x="406" y="544"/>
                </a:cubicBezTo>
                <a:cubicBezTo>
                  <a:pt x="554" y="544"/>
                  <a:pt x="554" y="544"/>
                  <a:pt x="554" y="544"/>
                </a:cubicBezTo>
                <a:cubicBezTo>
                  <a:pt x="530" y="494"/>
                  <a:pt x="530" y="494"/>
                  <a:pt x="530" y="494"/>
                </a:cubicBezTo>
                <a:cubicBezTo>
                  <a:pt x="530" y="494"/>
                  <a:pt x="530" y="494"/>
                  <a:pt x="530" y="494"/>
                </a:cubicBezTo>
                <a:close/>
                <a:moveTo>
                  <a:pt x="453" y="256"/>
                </a:moveTo>
                <a:cubicBezTo>
                  <a:pt x="508" y="256"/>
                  <a:pt x="508" y="256"/>
                  <a:pt x="508" y="256"/>
                </a:cubicBezTo>
                <a:cubicBezTo>
                  <a:pt x="508" y="484"/>
                  <a:pt x="508" y="484"/>
                  <a:pt x="508" y="484"/>
                </a:cubicBezTo>
                <a:cubicBezTo>
                  <a:pt x="453" y="484"/>
                  <a:pt x="453" y="484"/>
                  <a:pt x="453" y="484"/>
                </a:cubicBezTo>
                <a:cubicBezTo>
                  <a:pt x="453" y="256"/>
                  <a:pt x="453" y="256"/>
                  <a:pt x="453" y="256"/>
                </a:cubicBezTo>
                <a:cubicBezTo>
                  <a:pt x="453" y="256"/>
                  <a:pt x="453" y="256"/>
                  <a:pt x="453" y="256"/>
                </a:cubicBezTo>
                <a:close/>
                <a:moveTo>
                  <a:pt x="465" y="173"/>
                </a:moveTo>
                <a:cubicBezTo>
                  <a:pt x="465" y="142"/>
                  <a:pt x="474" y="113"/>
                  <a:pt x="480" y="97"/>
                </a:cubicBezTo>
                <a:cubicBezTo>
                  <a:pt x="487" y="113"/>
                  <a:pt x="496" y="142"/>
                  <a:pt x="496" y="173"/>
                </a:cubicBezTo>
                <a:cubicBezTo>
                  <a:pt x="496" y="234"/>
                  <a:pt x="496" y="234"/>
                  <a:pt x="496" y="234"/>
                </a:cubicBezTo>
                <a:cubicBezTo>
                  <a:pt x="465" y="234"/>
                  <a:pt x="465" y="234"/>
                  <a:pt x="465" y="234"/>
                </a:cubicBezTo>
                <a:cubicBezTo>
                  <a:pt x="465" y="173"/>
                  <a:pt x="465" y="173"/>
                  <a:pt x="465" y="173"/>
                </a:cubicBezTo>
                <a:cubicBezTo>
                  <a:pt x="465" y="173"/>
                  <a:pt x="465" y="173"/>
                  <a:pt x="465" y="173"/>
                </a:cubicBezTo>
                <a:close/>
                <a:moveTo>
                  <a:pt x="440" y="522"/>
                </a:moveTo>
                <a:cubicBezTo>
                  <a:pt x="446" y="506"/>
                  <a:pt x="446" y="506"/>
                  <a:pt x="446" y="506"/>
                </a:cubicBezTo>
                <a:cubicBezTo>
                  <a:pt x="514" y="506"/>
                  <a:pt x="514" y="506"/>
                  <a:pt x="514" y="506"/>
                </a:cubicBezTo>
                <a:cubicBezTo>
                  <a:pt x="520" y="522"/>
                  <a:pt x="520" y="522"/>
                  <a:pt x="520" y="522"/>
                </a:cubicBezTo>
                <a:cubicBezTo>
                  <a:pt x="440" y="522"/>
                  <a:pt x="440" y="522"/>
                  <a:pt x="440" y="522"/>
                </a:cubicBezTo>
                <a:cubicBezTo>
                  <a:pt x="440" y="522"/>
                  <a:pt x="440" y="522"/>
                  <a:pt x="440" y="522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000000"/>
              </a:solidFill>
            </a:endParaRPr>
          </a:p>
        </p:txBody>
      </p:sp>
      <p:sp>
        <p:nvSpPr>
          <p:cNvPr id="89" name="Google Shape;5742;p397">
            <a:extLst>
              <a:ext uri="{FF2B5EF4-FFF2-40B4-BE49-F238E27FC236}">
                <a16:creationId xmlns:a16="http://schemas.microsoft.com/office/drawing/2014/main" id="{806C9D62-314B-4E86-AC37-40A4F03BC534}"/>
              </a:ext>
            </a:extLst>
          </p:cNvPr>
          <p:cNvSpPr/>
          <p:nvPr/>
        </p:nvSpPr>
        <p:spPr>
          <a:xfrm>
            <a:off x="3207853" y="2783063"/>
            <a:ext cx="256030" cy="256030"/>
          </a:xfrm>
          <a:custGeom>
            <a:avLst/>
            <a:gdLst/>
            <a:ahLst/>
            <a:cxnLst/>
            <a:rect l="l" t="t" r="r" b="b"/>
            <a:pathLst>
              <a:path w="2322" h="2322" extrusionOk="0">
                <a:moveTo>
                  <a:pt x="1160" y="905"/>
                </a:moveTo>
                <a:cubicBezTo>
                  <a:pt x="1020" y="905"/>
                  <a:pt x="904" y="1022"/>
                  <a:pt x="904" y="1162"/>
                </a:cubicBezTo>
                <a:cubicBezTo>
                  <a:pt x="904" y="1303"/>
                  <a:pt x="1020" y="1419"/>
                  <a:pt x="1160" y="1419"/>
                </a:cubicBezTo>
                <a:cubicBezTo>
                  <a:pt x="1300" y="1419"/>
                  <a:pt x="1416" y="1303"/>
                  <a:pt x="1416" y="1162"/>
                </a:cubicBezTo>
                <a:cubicBezTo>
                  <a:pt x="1416" y="1022"/>
                  <a:pt x="1300" y="905"/>
                  <a:pt x="1160" y="905"/>
                </a:cubicBezTo>
                <a:close/>
                <a:moveTo>
                  <a:pt x="1316" y="1162"/>
                </a:moveTo>
                <a:cubicBezTo>
                  <a:pt x="1316" y="1251"/>
                  <a:pt x="1248" y="1319"/>
                  <a:pt x="1160" y="1319"/>
                </a:cubicBezTo>
                <a:cubicBezTo>
                  <a:pt x="1072" y="1319"/>
                  <a:pt x="1004" y="1251"/>
                  <a:pt x="1004" y="1162"/>
                </a:cubicBezTo>
                <a:cubicBezTo>
                  <a:pt x="1004" y="1074"/>
                  <a:pt x="1072" y="1006"/>
                  <a:pt x="1160" y="1006"/>
                </a:cubicBezTo>
                <a:cubicBezTo>
                  <a:pt x="1248" y="1006"/>
                  <a:pt x="1316" y="1074"/>
                  <a:pt x="1316" y="1162"/>
                </a:cubicBezTo>
                <a:close/>
                <a:moveTo>
                  <a:pt x="1929" y="1162"/>
                </a:moveTo>
                <a:cubicBezTo>
                  <a:pt x="1929" y="957"/>
                  <a:pt x="1849" y="764"/>
                  <a:pt x="1704" y="619"/>
                </a:cubicBezTo>
                <a:cubicBezTo>
                  <a:pt x="1559" y="475"/>
                  <a:pt x="1365" y="394"/>
                  <a:pt x="1160" y="394"/>
                </a:cubicBezTo>
                <a:cubicBezTo>
                  <a:pt x="955" y="394"/>
                  <a:pt x="761" y="475"/>
                  <a:pt x="616" y="619"/>
                </a:cubicBezTo>
                <a:cubicBezTo>
                  <a:pt x="471" y="764"/>
                  <a:pt x="391" y="957"/>
                  <a:pt x="391" y="1162"/>
                </a:cubicBezTo>
                <a:cubicBezTo>
                  <a:pt x="391" y="1347"/>
                  <a:pt x="459" y="1528"/>
                  <a:pt x="584" y="1669"/>
                </a:cubicBezTo>
                <a:cubicBezTo>
                  <a:pt x="455" y="1798"/>
                  <a:pt x="455" y="1798"/>
                  <a:pt x="455" y="1798"/>
                </a:cubicBezTo>
                <a:cubicBezTo>
                  <a:pt x="455" y="1798"/>
                  <a:pt x="455" y="1798"/>
                  <a:pt x="455" y="1798"/>
                </a:cubicBezTo>
                <a:cubicBezTo>
                  <a:pt x="524" y="1866"/>
                  <a:pt x="524" y="1866"/>
                  <a:pt x="524" y="1866"/>
                </a:cubicBezTo>
                <a:cubicBezTo>
                  <a:pt x="524" y="1866"/>
                  <a:pt x="524" y="1866"/>
                  <a:pt x="524" y="1866"/>
                </a:cubicBezTo>
                <a:cubicBezTo>
                  <a:pt x="653" y="1737"/>
                  <a:pt x="653" y="1737"/>
                  <a:pt x="653" y="1737"/>
                </a:cubicBezTo>
                <a:cubicBezTo>
                  <a:pt x="794" y="1862"/>
                  <a:pt x="975" y="1930"/>
                  <a:pt x="1160" y="1930"/>
                </a:cubicBezTo>
                <a:cubicBezTo>
                  <a:pt x="1345" y="1930"/>
                  <a:pt x="1526" y="1862"/>
                  <a:pt x="1667" y="1737"/>
                </a:cubicBezTo>
                <a:cubicBezTo>
                  <a:pt x="1796" y="1866"/>
                  <a:pt x="1796" y="1866"/>
                  <a:pt x="1796" y="1866"/>
                </a:cubicBezTo>
                <a:cubicBezTo>
                  <a:pt x="1796" y="1866"/>
                  <a:pt x="1796" y="1866"/>
                  <a:pt x="1796" y="1866"/>
                </a:cubicBezTo>
                <a:cubicBezTo>
                  <a:pt x="1865" y="1798"/>
                  <a:pt x="1865" y="1798"/>
                  <a:pt x="1865" y="1798"/>
                </a:cubicBezTo>
                <a:cubicBezTo>
                  <a:pt x="1869" y="1798"/>
                  <a:pt x="1869" y="1798"/>
                  <a:pt x="1869" y="1798"/>
                </a:cubicBezTo>
                <a:cubicBezTo>
                  <a:pt x="1736" y="1669"/>
                  <a:pt x="1736" y="1669"/>
                  <a:pt x="1736" y="1669"/>
                </a:cubicBezTo>
                <a:cubicBezTo>
                  <a:pt x="1861" y="1528"/>
                  <a:pt x="1929" y="1347"/>
                  <a:pt x="1929" y="1162"/>
                </a:cubicBezTo>
                <a:close/>
                <a:moveTo>
                  <a:pt x="1828" y="1162"/>
                </a:moveTo>
                <a:cubicBezTo>
                  <a:pt x="1828" y="1532"/>
                  <a:pt x="1530" y="1830"/>
                  <a:pt x="1160" y="1830"/>
                </a:cubicBezTo>
                <a:cubicBezTo>
                  <a:pt x="790" y="1830"/>
                  <a:pt x="492" y="1532"/>
                  <a:pt x="492" y="1162"/>
                </a:cubicBezTo>
                <a:cubicBezTo>
                  <a:pt x="492" y="792"/>
                  <a:pt x="790" y="495"/>
                  <a:pt x="1160" y="495"/>
                </a:cubicBezTo>
                <a:cubicBezTo>
                  <a:pt x="1530" y="495"/>
                  <a:pt x="1828" y="792"/>
                  <a:pt x="1828" y="1162"/>
                </a:cubicBezTo>
                <a:close/>
                <a:moveTo>
                  <a:pt x="1160" y="634"/>
                </a:moveTo>
                <a:cubicBezTo>
                  <a:pt x="869" y="634"/>
                  <a:pt x="632" y="870"/>
                  <a:pt x="632" y="1161"/>
                </a:cubicBezTo>
                <a:cubicBezTo>
                  <a:pt x="632" y="1452"/>
                  <a:pt x="869" y="1689"/>
                  <a:pt x="1160" y="1689"/>
                </a:cubicBezTo>
                <a:cubicBezTo>
                  <a:pt x="1451" y="1689"/>
                  <a:pt x="1688" y="1452"/>
                  <a:pt x="1688" y="1161"/>
                </a:cubicBezTo>
                <a:cubicBezTo>
                  <a:pt x="1688" y="870"/>
                  <a:pt x="1451" y="634"/>
                  <a:pt x="1160" y="634"/>
                </a:cubicBezTo>
                <a:close/>
                <a:moveTo>
                  <a:pt x="1588" y="1161"/>
                </a:moveTo>
                <a:cubicBezTo>
                  <a:pt x="1588" y="1398"/>
                  <a:pt x="1397" y="1589"/>
                  <a:pt x="1160" y="1589"/>
                </a:cubicBezTo>
                <a:cubicBezTo>
                  <a:pt x="923" y="1589"/>
                  <a:pt x="732" y="1398"/>
                  <a:pt x="732" y="1161"/>
                </a:cubicBezTo>
                <a:cubicBezTo>
                  <a:pt x="732" y="924"/>
                  <a:pt x="923" y="733"/>
                  <a:pt x="1160" y="733"/>
                </a:cubicBezTo>
                <a:cubicBezTo>
                  <a:pt x="1397" y="733"/>
                  <a:pt x="1588" y="924"/>
                  <a:pt x="1588" y="1161"/>
                </a:cubicBezTo>
                <a:close/>
                <a:moveTo>
                  <a:pt x="0" y="0"/>
                </a:moveTo>
                <a:cubicBezTo>
                  <a:pt x="0" y="2322"/>
                  <a:pt x="0" y="2322"/>
                  <a:pt x="0" y="2322"/>
                </a:cubicBezTo>
                <a:cubicBezTo>
                  <a:pt x="2322" y="2322"/>
                  <a:pt x="2322" y="2322"/>
                  <a:pt x="2322" y="2322"/>
                </a:cubicBezTo>
                <a:cubicBezTo>
                  <a:pt x="2322" y="0"/>
                  <a:pt x="2322" y="0"/>
                  <a:pt x="23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232" y="2231"/>
                </a:moveTo>
                <a:cubicBezTo>
                  <a:pt x="90" y="2231"/>
                  <a:pt x="90" y="2231"/>
                  <a:pt x="90" y="2231"/>
                </a:cubicBezTo>
                <a:cubicBezTo>
                  <a:pt x="90" y="91"/>
                  <a:pt x="90" y="91"/>
                  <a:pt x="90" y="91"/>
                </a:cubicBezTo>
                <a:cubicBezTo>
                  <a:pt x="2232" y="91"/>
                  <a:pt x="2232" y="91"/>
                  <a:pt x="2232" y="91"/>
                </a:cubicBezTo>
                <a:cubicBezTo>
                  <a:pt x="2232" y="2231"/>
                  <a:pt x="2232" y="2231"/>
                  <a:pt x="2232" y="2231"/>
                </a:cubicBezTo>
                <a:cubicBezTo>
                  <a:pt x="2232" y="2231"/>
                  <a:pt x="2232" y="2231"/>
                  <a:pt x="2232" y="223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5743;p397">
            <a:extLst>
              <a:ext uri="{FF2B5EF4-FFF2-40B4-BE49-F238E27FC236}">
                <a16:creationId xmlns:a16="http://schemas.microsoft.com/office/drawing/2014/main" id="{A96DE2E1-04FF-48F6-9572-7449F08B841B}"/>
              </a:ext>
            </a:extLst>
          </p:cNvPr>
          <p:cNvSpPr/>
          <p:nvPr/>
        </p:nvSpPr>
        <p:spPr>
          <a:xfrm>
            <a:off x="3760190" y="2783063"/>
            <a:ext cx="256030" cy="256030"/>
          </a:xfrm>
          <a:custGeom>
            <a:avLst/>
            <a:gdLst/>
            <a:ahLst/>
            <a:cxnLst/>
            <a:rect l="l" t="t" r="r" b="b"/>
            <a:pathLst>
              <a:path w="2322" h="2322" extrusionOk="0">
                <a:moveTo>
                  <a:pt x="0" y="0"/>
                </a:moveTo>
                <a:cubicBezTo>
                  <a:pt x="0" y="2322"/>
                  <a:pt x="0" y="2322"/>
                  <a:pt x="0" y="2322"/>
                </a:cubicBezTo>
                <a:cubicBezTo>
                  <a:pt x="2322" y="2322"/>
                  <a:pt x="2322" y="2322"/>
                  <a:pt x="2322" y="2322"/>
                </a:cubicBezTo>
                <a:cubicBezTo>
                  <a:pt x="2322" y="0"/>
                  <a:pt x="2322" y="0"/>
                  <a:pt x="232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  <a:moveTo>
                  <a:pt x="2222" y="2222"/>
                </a:moveTo>
                <a:cubicBezTo>
                  <a:pt x="100" y="2222"/>
                  <a:pt x="100" y="2222"/>
                  <a:pt x="100" y="2222"/>
                </a:cubicBezTo>
                <a:cubicBezTo>
                  <a:pt x="100" y="100"/>
                  <a:pt x="100" y="100"/>
                  <a:pt x="100" y="100"/>
                </a:cubicBezTo>
                <a:cubicBezTo>
                  <a:pt x="2222" y="100"/>
                  <a:pt x="2222" y="100"/>
                  <a:pt x="2222" y="100"/>
                </a:cubicBezTo>
                <a:cubicBezTo>
                  <a:pt x="2222" y="2222"/>
                  <a:pt x="2222" y="2222"/>
                  <a:pt x="2222" y="2222"/>
                </a:cubicBezTo>
                <a:cubicBezTo>
                  <a:pt x="2222" y="2222"/>
                  <a:pt x="2222" y="2222"/>
                  <a:pt x="2222" y="2222"/>
                </a:cubicBezTo>
                <a:close/>
                <a:moveTo>
                  <a:pt x="1646" y="1212"/>
                </a:moveTo>
                <a:cubicBezTo>
                  <a:pt x="1545" y="1212"/>
                  <a:pt x="1448" y="1248"/>
                  <a:pt x="1375" y="1309"/>
                </a:cubicBezTo>
                <a:cubicBezTo>
                  <a:pt x="1339" y="1272"/>
                  <a:pt x="1339" y="1272"/>
                  <a:pt x="1339" y="1272"/>
                </a:cubicBezTo>
                <a:cubicBezTo>
                  <a:pt x="1359" y="1240"/>
                  <a:pt x="1371" y="1204"/>
                  <a:pt x="1371" y="1164"/>
                </a:cubicBezTo>
                <a:cubicBezTo>
                  <a:pt x="1371" y="1128"/>
                  <a:pt x="1359" y="1087"/>
                  <a:pt x="1339" y="1059"/>
                </a:cubicBezTo>
                <a:cubicBezTo>
                  <a:pt x="1375" y="1023"/>
                  <a:pt x="1375" y="1023"/>
                  <a:pt x="1375" y="1023"/>
                </a:cubicBezTo>
                <a:cubicBezTo>
                  <a:pt x="1448" y="1083"/>
                  <a:pt x="1545" y="1119"/>
                  <a:pt x="1646" y="1119"/>
                </a:cubicBezTo>
                <a:cubicBezTo>
                  <a:pt x="1889" y="1119"/>
                  <a:pt x="2083" y="922"/>
                  <a:pt x="2083" y="681"/>
                </a:cubicBezTo>
                <a:cubicBezTo>
                  <a:pt x="2083" y="444"/>
                  <a:pt x="1889" y="247"/>
                  <a:pt x="1646" y="247"/>
                </a:cubicBezTo>
                <a:cubicBezTo>
                  <a:pt x="1404" y="247"/>
                  <a:pt x="1210" y="444"/>
                  <a:pt x="1210" y="681"/>
                </a:cubicBezTo>
                <a:cubicBezTo>
                  <a:pt x="1210" y="786"/>
                  <a:pt x="1246" y="878"/>
                  <a:pt x="1303" y="955"/>
                </a:cubicBezTo>
                <a:cubicBezTo>
                  <a:pt x="1270" y="987"/>
                  <a:pt x="1270" y="987"/>
                  <a:pt x="1270" y="987"/>
                </a:cubicBezTo>
                <a:cubicBezTo>
                  <a:pt x="1238" y="967"/>
                  <a:pt x="1202" y="959"/>
                  <a:pt x="1161" y="959"/>
                </a:cubicBezTo>
                <a:cubicBezTo>
                  <a:pt x="1121" y="959"/>
                  <a:pt x="1084" y="967"/>
                  <a:pt x="1052" y="987"/>
                </a:cubicBezTo>
                <a:cubicBezTo>
                  <a:pt x="1020" y="955"/>
                  <a:pt x="1020" y="955"/>
                  <a:pt x="1020" y="955"/>
                </a:cubicBezTo>
                <a:cubicBezTo>
                  <a:pt x="1076" y="878"/>
                  <a:pt x="1113" y="786"/>
                  <a:pt x="1113" y="681"/>
                </a:cubicBezTo>
                <a:cubicBezTo>
                  <a:pt x="1113" y="444"/>
                  <a:pt x="918" y="247"/>
                  <a:pt x="676" y="247"/>
                </a:cubicBezTo>
                <a:cubicBezTo>
                  <a:pt x="433" y="247"/>
                  <a:pt x="239" y="444"/>
                  <a:pt x="239" y="681"/>
                </a:cubicBezTo>
                <a:cubicBezTo>
                  <a:pt x="239" y="922"/>
                  <a:pt x="433" y="1119"/>
                  <a:pt x="676" y="1119"/>
                </a:cubicBezTo>
                <a:cubicBezTo>
                  <a:pt x="777" y="1119"/>
                  <a:pt x="874" y="1083"/>
                  <a:pt x="947" y="1023"/>
                </a:cubicBezTo>
                <a:cubicBezTo>
                  <a:pt x="983" y="1059"/>
                  <a:pt x="983" y="1059"/>
                  <a:pt x="983" y="1059"/>
                </a:cubicBezTo>
                <a:cubicBezTo>
                  <a:pt x="963" y="1087"/>
                  <a:pt x="951" y="1128"/>
                  <a:pt x="951" y="1164"/>
                </a:cubicBezTo>
                <a:cubicBezTo>
                  <a:pt x="951" y="1204"/>
                  <a:pt x="963" y="1240"/>
                  <a:pt x="983" y="1272"/>
                </a:cubicBezTo>
                <a:cubicBezTo>
                  <a:pt x="947" y="1309"/>
                  <a:pt x="947" y="1309"/>
                  <a:pt x="947" y="1309"/>
                </a:cubicBezTo>
                <a:cubicBezTo>
                  <a:pt x="874" y="1248"/>
                  <a:pt x="777" y="1212"/>
                  <a:pt x="676" y="1212"/>
                </a:cubicBezTo>
                <a:cubicBezTo>
                  <a:pt x="433" y="1212"/>
                  <a:pt x="239" y="1409"/>
                  <a:pt x="239" y="1646"/>
                </a:cubicBezTo>
                <a:cubicBezTo>
                  <a:pt x="239" y="1888"/>
                  <a:pt x="433" y="2085"/>
                  <a:pt x="676" y="2085"/>
                </a:cubicBezTo>
                <a:cubicBezTo>
                  <a:pt x="918" y="2085"/>
                  <a:pt x="1113" y="1888"/>
                  <a:pt x="1113" y="1646"/>
                </a:cubicBezTo>
                <a:cubicBezTo>
                  <a:pt x="1113" y="1546"/>
                  <a:pt x="1076" y="1453"/>
                  <a:pt x="1020" y="1377"/>
                </a:cubicBezTo>
                <a:cubicBezTo>
                  <a:pt x="1052" y="1341"/>
                  <a:pt x="1052" y="1341"/>
                  <a:pt x="1052" y="1341"/>
                </a:cubicBezTo>
                <a:cubicBezTo>
                  <a:pt x="1084" y="1361"/>
                  <a:pt x="1121" y="1373"/>
                  <a:pt x="1161" y="1373"/>
                </a:cubicBezTo>
                <a:cubicBezTo>
                  <a:pt x="1202" y="1373"/>
                  <a:pt x="1238" y="1361"/>
                  <a:pt x="1270" y="1341"/>
                </a:cubicBezTo>
                <a:cubicBezTo>
                  <a:pt x="1303" y="1377"/>
                  <a:pt x="1303" y="1377"/>
                  <a:pt x="1303" y="1377"/>
                </a:cubicBezTo>
                <a:cubicBezTo>
                  <a:pt x="1246" y="1453"/>
                  <a:pt x="1210" y="1546"/>
                  <a:pt x="1210" y="1646"/>
                </a:cubicBezTo>
                <a:cubicBezTo>
                  <a:pt x="1210" y="1888"/>
                  <a:pt x="1404" y="2085"/>
                  <a:pt x="1646" y="2085"/>
                </a:cubicBezTo>
                <a:cubicBezTo>
                  <a:pt x="1889" y="2085"/>
                  <a:pt x="2083" y="1888"/>
                  <a:pt x="2083" y="1646"/>
                </a:cubicBezTo>
                <a:cubicBezTo>
                  <a:pt x="2083" y="1409"/>
                  <a:pt x="1889" y="1212"/>
                  <a:pt x="1646" y="1212"/>
                </a:cubicBezTo>
                <a:close/>
                <a:moveTo>
                  <a:pt x="676" y="1984"/>
                </a:moveTo>
                <a:cubicBezTo>
                  <a:pt x="490" y="1984"/>
                  <a:pt x="336" y="1831"/>
                  <a:pt x="336" y="1646"/>
                </a:cubicBezTo>
                <a:cubicBezTo>
                  <a:pt x="336" y="1461"/>
                  <a:pt x="490" y="1313"/>
                  <a:pt x="676" y="1313"/>
                </a:cubicBezTo>
                <a:cubicBezTo>
                  <a:pt x="753" y="1313"/>
                  <a:pt x="821" y="1337"/>
                  <a:pt x="878" y="1377"/>
                </a:cubicBezTo>
                <a:cubicBezTo>
                  <a:pt x="732" y="1522"/>
                  <a:pt x="732" y="1522"/>
                  <a:pt x="732" y="1522"/>
                </a:cubicBezTo>
                <a:cubicBezTo>
                  <a:pt x="716" y="1514"/>
                  <a:pt x="696" y="1510"/>
                  <a:pt x="676" y="1510"/>
                </a:cubicBezTo>
                <a:cubicBezTo>
                  <a:pt x="656" y="1510"/>
                  <a:pt x="639" y="1514"/>
                  <a:pt x="619" y="1522"/>
                </a:cubicBezTo>
                <a:cubicBezTo>
                  <a:pt x="514" y="1417"/>
                  <a:pt x="514" y="1417"/>
                  <a:pt x="514" y="1417"/>
                </a:cubicBezTo>
                <a:cubicBezTo>
                  <a:pt x="445" y="1485"/>
                  <a:pt x="445" y="1485"/>
                  <a:pt x="445" y="1485"/>
                </a:cubicBezTo>
                <a:cubicBezTo>
                  <a:pt x="551" y="1594"/>
                  <a:pt x="551" y="1594"/>
                  <a:pt x="551" y="1594"/>
                </a:cubicBezTo>
                <a:cubicBezTo>
                  <a:pt x="542" y="1610"/>
                  <a:pt x="538" y="1626"/>
                  <a:pt x="538" y="1646"/>
                </a:cubicBezTo>
                <a:cubicBezTo>
                  <a:pt x="538" y="1723"/>
                  <a:pt x="599" y="1783"/>
                  <a:pt x="676" y="1783"/>
                </a:cubicBezTo>
                <a:cubicBezTo>
                  <a:pt x="696" y="1783"/>
                  <a:pt x="716" y="1779"/>
                  <a:pt x="732" y="1771"/>
                </a:cubicBezTo>
                <a:cubicBezTo>
                  <a:pt x="838" y="1880"/>
                  <a:pt x="838" y="1880"/>
                  <a:pt x="838" y="1880"/>
                </a:cubicBezTo>
                <a:cubicBezTo>
                  <a:pt x="910" y="1807"/>
                  <a:pt x="910" y="1807"/>
                  <a:pt x="910" y="1807"/>
                </a:cubicBezTo>
                <a:cubicBezTo>
                  <a:pt x="801" y="1703"/>
                  <a:pt x="801" y="1703"/>
                  <a:pt x="801" y="1703"/>
                </a:cubicBezTo>
                <a:cubicBezTo>
                  <a:pt x="809" y="1687"/>
                  <a:pt x="813" y="1666"/>
                  <a:pt x="813" y="1646"/>
                </a:cubicBezTo>
                <a:cubicBezTo>
                  <a:pt x="813" y="1626"/>
                  <a:pt x="809" y="1610"/>
                  <a:pt x="801" y="1594"/>
                </a:cubicBezTo>
                <a:cubicBezTo>
                  <a:pt x="947" y="1449"/>
                  <a:pt x="947" y="1449"/>
                  <a:pt x="947" y="1449"/>
                </a:cubicBezTo>
                <a:cubicBezTo>
                  <a:pt x="987" y="1506"/>
                  <a:pt x="1016" y="1574"/>
                  <a:pt x="1016" y="1646"/>
                </a:cubicBezTo>
                <a:cubicBezTo>
                  <a:pt x="1016" y="1831"/>
                  <a:pt x="862" y="1984"/>
                  <a:pt x="676" y="1984"/>
                </a:cubicBezTo>
                <a:close/>
                <a:moveTo>
                  <a:pt x="712" y="1646"/>
                </a:moveTo>
                <a:cubicBezTo>
                  <a:pt x="712" y="1670"/>
                  <a:pt x="696" y="1687"/>
                  <a:pt x="676" y="1687"/>
                </a:cubicBezTo>
                <a:cubicBezTo>
                  <a:pt x="656" y="1687"/>
                  <a:pt x="639" y="1670"/>
                  <a:pt x="639" y="1646"/>
                </a:cubicBezTo>
                <a:cubicBezTo>
                  <a:pt x="639" y="1626"/>
                  <a:pt x="656" y="1610"/>
                  <a:pt x="676" y="1610"/>
                </a:cubicBezTo>
                <a:cubicBezTo>
                  <a:pt x="696" y="1610"/>
                  <a:pt x="712" y="1626"/>
                  <a:pt x="712" y="1646"/>
                </a:cubicBezTo>
                <a:close/>
                <a:moveTo>
                  <a:pt x="947" y="882"/>
                </a:moveTo>
                <a:cubicBezTo>
                  <a:pt x="801" y="737"/>
                  <a:pt x="801" y="737"/>
                  <a:pt x="801" y="737"/>
                </a:cubicBezTo>
                <a:cubicBezTo>
                  <a:pt x="809" y="721"/>
                  <a:pt x="813" y="701"/>
                  <a:pt x="813" y="681"/>
                </a:cubicBezTo>
                <a:cubicBezTo>
                  <a:pt x="813" y="661"/>
                  <a:pt x="809" y="645"/>
                  <a:pt x="801" y="629"/>
                </a:cubicBezTo>
                <a:cubicBezTo>
                  <a:pt x="910" y="520"/>
                  <a:pt x="910" y="520"/>
                  <a:pt x="910" y="520"/>
                </a:cubicBezTo>
                <a:cubicBezTo>
                  <a:pt x="838" y="452"/>
                  <a:pt x="838" y="452"/>
                  <a:pt x="838" y="452"/>
                </a:cubicBezTo>
                <a:cubicBezTo>
                  <a:pt x="732" y="556"/>
                  <a:pt x="732" y="556"/>
                  <a:pt x="732" y="556"/>
                </a:cubicBezTo>
                <a:cubicBezTo>
                  <a:pt x="716" y="548"/>
                  <a:pt x="696" y="544"/>
                  <a:pt x="676" y="544"/>
                </a:cubicBezTo>
                <a:cubicBezTo>
                  <a:pt x="599" y="544"/>
                  <a:pt x="538" y="609"/>
                  <a:pt x="538" y="681"/>
                </a:cubicBezTo>
                <a:cubicBezTo>
                  <a:pt x="538" y="701"/>
                  <a:pt x="542" y="721"/>
                  <a:pt x="551" y="737"/>
                </a:cubicBezTo>
                <a:cubicBezTo>
                  <a:pt x="445" y="842"/>
                  <a:pt x="445" y="842"/>
                  <a:pt x="445" y="842"/>
                </a:cubicBezTo>
                <a:cubicBezTo>
                  <a:pt x="514" y="914"/>
                  <a:pt x="514" y="914"/>
                  <a:pt x="514" y="914"/>
                </a:cubicBezTo>
                <a:cubicBezTo>
                  <a:pt x="619" y="806"/>
                  <a:pt x="619" y="806"/>
                  <a:pt x="619" y="806"/>
                </a:cubicBezTo>
                <a:cubicBezTo>
                  <a:pt x="639" y="814"/>
                  <a:pt x="656" y="818"/>
                  <a:pt x="676" y="818"/>
                </a:cubicBezTo>
                <a:cubicBezTo>
                  <a:pt x="696" y="818"/>
                  <a:pt x="716" y="814"/>
                  <a:pt x="732" y="806"/>
                </a:cubicBezTo>
                <a:cubicBezTo>
                  <a:pt x="878" y="951"/>
                  <a:pt x="878" y="951"/>
                  <a:pt x="878" y="951"/>
                </a:cubicBezTo>
                <a:cubicBezTo>
                  <a:pt x="821" y="995"/>
                  <a:pt x="753" y="1019"/>
                  <a:pt x="676" y="1019"/>
                </a:cubicBezTo>
                <a:cubicBezTo>
                  <a:pt x="490" y="1019"/>
                  <a:pt x="336" y="866"/>
                  <a:pt x="336" y="681"/>
                </a:cubicBezTo>
                <a:cubicBezTo>
                  <a:pt x="336" y="496"/>
                  <a:pt x="490" y="347"/>
                  <a:pt x="676" y="347"/>
                </a:cubicBezTo>
                <a:cubicBezTo>
                  <a:pt x="862" y="347"/>
                  <a:pt x="1016" y="496"/>
                  <a:pt x="1016" y="681"/>
                </a:cubicBezTo>
                <a:cubicBezTo>
                  <a:pt x="1016" y="758"/>
                  <a:pt x="987" y="826"/>
                  <a:pt x="947" y="882"/>
                </a:cubicBezTo>
                <a:close/>
                <a:moveTo>
                  <a:pt x="712" y="681"/>
                </a:moveTo>
                <a:cubicBezTo>
                  <a:pt x="712" y="705"/>
                  <a:pt x="696" y="721"/>
                  <a:pt x="676" y="721"/>
                </a:cubicBezTo>
                <a:cubicBezTo>
                  <a:pt x="656" y="721"/>
                  <a:pt x="639" y="705"/>
                  <a:pt x="639" y="681"/>
                </a:cubicBezTo>
                <a:cubicBezTo>
                  <a:pt x="639" y="661"/>
                  <a:pt x="656" y="645"/>
                  <a:pt x="676" y="645"/>
                </a:cubicBezTo>
                <a:cubicBezTo>
                  <a:pt x="696" y="645"/>
                  <a:pt x="712" y="661"/>
                  <a:pt x="712" y="681"/>
                </a:cubicBezTo>
                <a:close/>
                <a:moveTo>
                  <a:pt x="1161" y="1272"/>
                </a:moveTo>
                <a:cubicBezTo>
                  <a:pt x="1100" y="1272"/>
                  <a:pt x="1052" y="1224"/>
                  <a:pt x="1052" y="1164"/>
                </a:cubicBezTo>
                <a:cubicBezTo>
                  <a:pt x="1052" y="1103"/>
                  <a:pt x="1100" y="1055"/>
                  <a:pt x="1161" y="1055"/>
                </a:cubicBezTo>
                <a:cubicBezTo>
                  <a:pt x="1222" y="1055"/>
                  <a:pt x="1270" y="1103"/>
                  <a:pt x="1270" y="1164"/>
                </a:cubicBezTo>
                <a:cubicBezTo>
                  <a:pt x="1270" y="1224"/>
                  <a:pt x="1222" y="1272"/>
                  <a:pt x="1161" y="1272"/>
                </a:cubicBezTo>
                <a:close/>
                <a:moveTo>
                  <a:pt x="1646" y="347"/>
                </a:moveTo>
                <a:cubicBezTo>
                  <a:pt x="1832" y="347"/>
                  <a:pt x="1986" y="496"/>
                  <a:pt x="1986" y="681"/>
                </a:cubicBezTo>
                <a:cubicBezTo>
                  <a:pt x="1986" y="866"/>
                  <a:pt x="1832" y="1019"/>
                  <a:pt x="1646" y="1019"/>
                </a:cubicBezTo>
                <a:cubicBezTo>
                  <a:pt x="1570" y="1019"/>
                  <a:pt x="1501" y="995"/>
                  <a:pt x="1444" y="951"/>
                </a:cubicBezTo>
                <a:cubicBezTo>
                  <a:pt x="1590" y="806"/>
                  <a:pt x="1590" y="806"/>
                  <a:pt x="1590" y="806"/>
                </a:cubicBezTo>
                <a:cubicBezTo>
                  <a:pt x="1610" y="814"/>
                  <a:pt x="1626" y="818"/>
                  <a:pt x="1646" y="818"/>
                </a:cubicBezTo>
                <a:cubicBezTo>
                  <a:pt x="1667" y="818"/>
                  <a:pt x="1687" y="814"/>
                  <a:pt x="1703" y="806"/>
                </a:cubicBezTo>
                <a:cubicBezTo>
                  <a:pt x="1808" y="914"/>
                  <a:pt x="1808" y="914"/>
                  <a:pt x="1808" y="914"/>
                </a:cubicBezTo>
                <a:cubicBezTo>
                  <a:pt x="1881" y="842"/>
                  <a:pt x="1881" y="842"/>
                  <a:pt x="1881" y="842"/>
                </a:cubicBezTo>
                <a:cubicBezTo>
                  <a:pt x="1772" y="737"/>
                  <a:pt x="1772" y="737"/>
                  <a:pt x="1772" y="737"/>
                </a:cubicBezTo>
                <a:cubicBezTo>
                  <a:pt x="1780" y="721"/>
                  <a:pt x="1784" y="701"/>
                  <a:pt x="1784" y="681"/>
                </a:cubicBezTo>
                <a:cubicBezTo>
                  <a:pt x="1784" y="609"/>
                  <a:pt x="1723" y="544"/>
                  <a:pt x="1646" y="544"/>
                </a:cubicBezTo>
                <a:cubicBezTo>
                  <a:pt x="1626" y="544"/>
                  <a:pt x="1610" y="548"/>
                  <a:pt x="1590" y="556"/>
                </a:cubicBezTo>
                <a:cubicBezTo>
                  <a:pt x="1485" y="452"/>
                  <a:pt x="1485" y="452"/>
                  <a:pt x="1485" y="452"/>
                </a:cubicBezTo>
                <a:cubicBezTo>
                  <a:pt x="1416" y="520"/>
                  <a:pt x="1416" y="520"/>
                  <a:pt x="1416" y="520"/>
                </a:cubicBezTo>
                <a:cubicBezTo>
                  <a:pt x="1521" y="629"/>
                  <a:pt x="1521" y="629"/>
                  <a:pt x="1521" y="629"/>
                </a:cubicBezTo>
                <a:cubicBezTo>
                  <a:pt x="1513" y="645"/>
                  <a:pt x="1509" y="661"/>
                  <a:pt x="1509" y="681"/>
                </a:cubicBezTo>
                <a:cubicBezTo>
                  <a:pt x="1509" y="701"/>
                  <a:pt x="1513" y="721"/>
                  <a:pt x="1521" y="737"/>
                </a:cubicBezTo>
                <a:cubicBezTo>
                  <a:pt x="1375" y="882"/>
                  <a:pt x="1375" y="882"/>
                  <a:pt x="1375" y="882"/>
                </a:cubicBezTo>
                <a:cubicBezTo>
                  <a:pt x="1335" y="826"/>
                  <a:pt x="1307" y="758"/>
                  <a:pt x="1307" y="681"/>
                </a:cubicBezTo>
                <a:cubicBezTo>
                  <a:pt x="1307" y="496"/>
                  <a:pt x="1460" y="347"/>
                  <a:pt x="1646" y="347"/>
                </a:cubicBezTo>
                <a:close/>
                <a:moveTo>
                  <a:pt x="1610" y="681"/>
                </a:moveTo>
                <a:cubicBezTo>
                  <a:pt x="1610" y="661"/>
                  <a:pt x="1626" y="645"/>
                  <a:pt x="1646" y="645"/>
                </a:cubicBezTo>
                <a:cubicBezTo>
                  <a:pt x="1667" y="645"/>
                  <a:pt x="1683" y="661"/>
                  <a:pt x="1683" y="681"/>
                </a:cubicBezTo>
                <a:cubicBezTo>
                  <a:pt x="1683" y="705"/>
                  <a:pt x="1667" y="721"/>
                  <a:pt x="1646" y="721"/>
                </a:cubicBezTo>
                <a:cubicBezTo>
                  <a:pt x="1626" y="721"/>
                  <a:pt x="1610" y="705"/>
                  <a:pt x="1610" y="681"/>
                </a:cubicBezTo>
                <a:close/>
                <a:moveTo>
                  <a:pt x="1646" y="1984"/>
                </a:moveTo>
                <a:cubicBezTo>
                  <a:pt x="1460" y="1984"/>
                  <a:pt x="1307" y="1831"/>
                  <a:pt x="1307" y="1646"/>
                </a:cubicBezTo>
                <a:cubicBezTo>
                  <a:pt x="1307" y="1574"/>
                  <a:pt x="1335" y="1506"/>
                  <a:pt x="1375" y="1449"/>
                </a:cubicBezTo>
                <a:cubicBezTo>
                  <a:pt x="1521" y="1594"/>
                  <a:pt x="1521" y="1594"/>
                  <a:pt x="1521" y="1594"/>
                </a:cubicBezTo>
                <a:cubicBezTo>
                  <a:pt x="1513" y="1610"/>
                  <a:pt x="1509" y="1626"/>
                  <a:pt x="1509" y="1646"/>
                </a:cubicBezTo>
                <a:cubicBezTo>
                  <a:pt x="1509" y="1658"/>
                  <a:pt x="1509" y="1670"/>
                  <a:pt x="1513" y="1679"/>
                </a:cubicBezTo>
                <a:cubicBezTo>
                  <a:pt x="1400" y="1791"/>
                  <a:pt x="1400" y="1791"/>
                  <a:pt x="1400" y="1791"/>
                </a:cubicBezTo>
                <a:cubicBezTo>
                  <a:pt x="1468" y="1864"/>
                  <a:pt x="1468" y="1864"/>
                  <a:pt x="1468" y="1864"/>
                </a:cubicBezTo>
                <a:cubicBezTo>
                  <a:pt x="1570" y="1763"/>
                  <a:pt x="1570" y="1763"/>
                  <a:pt x="1570" y="1763"/>
                </a:cubicBezTo>
                <a:cubicBezTo>
                  <a:pt x="1594" y="1775"/>
                  <a:pt x="1618" y="1783"/>
                  <a:pt x="1646" y="1783"/>
                </a:cubicBezTo>
                <a:cubicBezTo>
                  <a:pt x="1723" y="1783"/>
                  <a:pt x="1784" y="1723"/>
                  <a:pt x="1784" y="1646"/>
                </a:cubicBezTo>
                <a:cubicBezTo>
                  <a:pt x="1784" y="1626"/>
                  <a:pt x="1780" y="1610"/>
                  <a:pt x="1772" y="1594"/>
                </a:cubicBezTo>
                <a:cubicBezTo>
                  <a:pt x="1881" y="1485"/>
                  <a:pt x="1881" y="1485"/>
                  <a:pt x="1881" y="1485"/>
                </a:cubicBezTo>
                <a:cubicBezTo>
                  <a:pt x="1808" y="1417"/>
                  <a:pt x="1808" y="1417"/>
                  <a:pt x="1808" y="1417"/>
                </a:cubicBezTo>
                <a:cubicBezTo>
                  <a:pt x="1703" y="1522"/>
                  <a:pt x="1703" y="1522"/>
                  <a:pt x="1703" y="1522"/>
                </a:cubicBezTo>
                <a:cubicBezTo>
                  <a:pt x="1687" y="1514"/>
                  <a:pt x="1667" y="1510"/>
                  <a:pt x="1646" y="1510"/>
                </a:cubicBezTo>
                <a:cubicBezTo>
                  <a:pt x="1626" y="1510"/>
                  <a:pt x="1610" y="1514"/>
                  <a:pt x="1590" y="1522"/>
                </a:cubicBezTo>
                <a:cubicBezTo>
                  <a:pt x="1444" y="1377"/>
                  <a:pt x="1444" y="1377"/>
                  <a:pt x="1444" y="1377"/>
                </a:cubicBezTo>
                <a:cubicBezTo>
                  <a:pt x="1501" y="1337"/>
                  <a:pt x="1570" y="1313"/>
                  <a:pt x="1646" y="1313"/>
                </a:cubicBezTo>
                <a:cubicBezTo>
                  <a:pt x="1832" y="1313"/>
                  <a:pt x="1986" y="1461"/>
                  <a:pt x="1986" y="1646"/>
                </a:cubicBezTo>
                <a:cubicBezTo>
                  <a:pt x="1986" y="1831"/>
                  <a:pt x="1832" y="1984"/>
                  <a:pt x="1646" y="1984"/>
                </a:cubicBezTo>
                <a:close/>
                <a:moveTo>
                  <a:pt x="1610" y="1646"/>
                </a:moveTo>
                <a:cubicBezTo>
                  <a:pt x="1610" y="1626"/>
                  <a:pt x="1626" y="1610"/>
                  <a:pt x="1646" y="1610"/>
                </a:cubicBezTo>
                <a:cubicBezTo>
                  <a:pt x="1667" y="1610"/>
                  <a:pt x="1683" y="1626"/>
                  <a:pt x="1683" y="1646"/>
                </a:cubicBezTo>
                <a:cubicBezTo>
                  <a:pt x="1683" y="1670"/>
                  <a:pt x="1667" y="1687"/>
                  <a:pt x="1646" y="1687"/>
                </a:cubicBezTo>
                <a:cubicBezTo>
                  <a:pt x="1626" y="1687"/>
                  <a:pt x="1610" y="1670"/>
                  <a:pt x="1610" y="1646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697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" name="Google Shape;846;g22aaf9e968d_9_207"/>
          <p:cNvSpPr txBox="1">
            <a:spLocks noGrp="1"/>
          </p:cNvSpPr>
          <p:nvPr>
            <p:ph type="ctrTitle"/>
          </p:nvPr>
        </p:nvSpPr>
        <p:spPr>
          <a:xfrm>
            <a:off x="442914" y="428625"/>
            <a:ext cx="54735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800"/>
              <a:buFont typeface="Georgia"/>
              <a:buNone/>
            </a:pPr>
            <a:r>
              <a:rPr lang="en-US" sz="5800" b="0" i="0" u="none" strike="noStrike" cap="none" dirty="0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Thank you</a:t>
            </a:r>
            <a:endParaRPr dirty="0"/>
          </a:p>
        </p:txBody>
      </p:sp>
      <p:sp>
        <p:nvSpPr>
          <p:cNvPr id="848" name="Google Shape;848;g22aaf9e968d_9_207"/>
          <p:cNvSpPr/>
          <p:nvPr/>
        </p:nvSpPr>
        <p:spPr>
          <a:xfrm>
            <a:off x="10957333" y="0"/>
            <a:ext cx="1234800" cy="1234800"/>
          </a:xfrm>
          <a:prstGeom prst="rect">
            <a:avLst/>
          </a:prstGeom>
          <a:solidFill>
            <a:srgbClr val="FFB600">
              <a:alpha val="6667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9" name="Google Shape;849;g22aaf9e968d_9_207"/>
          <p:cNvSpPr/>
          <p:nvPr/>
        </p:nvSpPr>
        <p:spPr>
          <a:xfrm>
            <a:off x="10478319" y="891423"/>
            <a:ext cx="798600" cy="798600"/>
          </a:xfrm>
          <a:prstGeom prst="rect">
            <a:avLst/>
          </a:prstGeom>
          <a:solidFill>
            <a:srgbClr val="D04A02">
              <a:alpha val="7922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Picture 7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EEE14A49-DDF6-40CF-B514-858BA1C9EDF6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r="13293" b="21455"/>
          <a:stretch/>
        </p:blipFill>
        <p:spPr>
          <a:xfrm>
            <a:off x="442914" y="3429000"/>
            <a:ext cx="1170432" cy="1307592"/>
          </a:xfrm>
          <a:prstGeom prst="rect">
            <a:avLst/>
          </a:prstGeom>
          <a:ln w="6350">
            <a:solidFill>
              <a:schemeClr val="tx2"/>
            </a:solidFill>
          </a:ln>
        </p:spPr>
      </p:pic>
      <p:sp>
        <p:nvSpPr>
          <p:cNvPr id="9" name="Google Shape;1511;p179">
            <a:extLst>
              <a:ext uri="{FF2B5EF4-FFF2-40B4-BE49-F238E27FC236}">
                <a16:creationId xmlns:a16="http://schemas.microsoft.com/office/drawing/2014/main" id="{BBB5161A-8B73-4A6C-A6AD-CE7797C6B867}"/>
              </a:ext>
            </a:extLst>
          </p:cNvPr>
          <p:cNvSpPr txBox="1"/>
          <p:nvPr/>
        </p:nvSpPr>
        <p:spPr>
          <a:xfrm>
            <a:off x="1757621" y="3694228"/>
            <a:ext cx="2844085" cy="777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spcAft>
                <a:spcPts val="300"/>
              </a:spcAft>
              <a:buClr>
                <a:srgbClr val="000000"/>
              </a:buClr>
              <a:buSzPts val="1200"/>
            </a:pPr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eorgia"/>
                <a:cs typeface="Arial" panose="020B0604020202020204" pitchFamily="34" charset="0"/>
                <a:sym typeface="Georgia"/>
              </a:rPr>
              <a:t>Omkar Kude</a:t>
            </a:r>
          </a:p>
          <a:p>
            <a:pPr>
              <a:buClr>
                <a:srgbClr val="000000"/>
              </a:buClr>
              <a:buSzPts val="1200"/>
            </a:pPr>
            <a:r>
              <a:rPr lang="en-GB" sz="1600" dirty="0">
                <a:solidFill>
                  <a:schemeClr val="bg1"/>
                </a:solidFill>
                <a:latin typeface="Georgia" panose="02040502050405020303" pitchFamily="18" charset="0"/>
              </a:rPr>
              <a:t>+91 90043 90619</a:t>
            </a:r>
            <a:br>
              <a:rPr lang="en-US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</a:br>
            <a:r>
              <a:rPr lang="en-GB" sz="1600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omkar.k.kude@pwc.com</a:t>
            </a:r>
            <a:endParaRPr lang="en-US" sz="1600" dirty="0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  <a:sym typeface="Arial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34804875,1,Slide21348046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93954"/>
      </a:accent5>
      <a:accent6>
        <a:srgbClr val="464646"/>
      </a:accent6>
      <a:hlink>
        <a:srgbClr val="D04A02"/>
      </a:hlink>
      <a:folHlink>
        <a:srgbClr val="D9395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7</TotalTime>
  <Words>934</Words>
  <Application>Microsoft Office PowerPoint</Application>
  <PresentationFormat>Widescreen</PresentationFormat>
  <Paragraphs>19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Georgia</vt:lpstr>
      <vt:lpstr>PwC</vt:lpstr>
      <vt:lpstr>PwC</vt:lpstr>
      <vt:lpstr>think-cell Slide</vt:lpstr>
      <vt:lpstr>PowerPoint Presentation</vt:lpstr>
      <vt:lpstr>The bright spots and the darker side of startup ecosystem</vt:lpstr>
      <vt:lpstr>Ethical dilemma for founders</vt:lpstr>
      <vt:lpstr>A tough balancing act for the founders </vt:lpstr>
      <vt:lpstr>Key considerations for Corporate Governance in startups</vt:lpstr>
      <vt:lpstr>Indicative Governance roadmap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veen Pr</dc:creator>
  <cp:lastModifiedBy>Omkar Kude (IN)</cp:lastModifiedBy>
  <cp:revision>19</cp:revision>
  <dcterms:modified xsi:type="dcterms:W3CDTF">2023-08-19T08:37:54Z</dcterms:modified>
</cp:coreProperties>
</file>